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38</c:v>
                </c:pt>
                <c:pt idx="2">
                  <c:v>389</c:v>
                </c:pt>
                <c:pt idx="3">
                  <c:v>362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1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4</c:v>
                </c:pt>
                <c:pt idx="20">
                  <c:v>90</c:v>
                </c:pt>
                <c:pt idx="21">
                  <c:v>87</c:v>
                </c:pt>
                <c:pt idx="22">
                  <c:v>83</c:v>
                </c:pt>
                <c:pt idx="23">
                  <c:v>81</c:v>
                </c:pt>
                <c:pt idx="24">
                  <c:v>67</c:v>
                </c:pt>
                <c:pt idx="25">
                  <c:v>56</c:v>
                </c:pt>
                <c:pt idx="26">
                  <c:v>57</c:v>
                </c:pt>
                <c:pt idx="27">
                  <c:v>63</c:v>
                </c:pt>
                <c:pt idx="28">
                  <c:v>58</c:v>
                </c:pt>
                <c:pt idx="29">
                  <c:v>58</c:v>
                </c:pt>
                <c:pt idx="30">
                  <c:v>49</c:v>
                </c:pt>
                <c:pt idx="31">
                  <c:v>39</c:v>
                </c:pt>
                <c:pt idx="32">
                  <c:v>28</c:v>
                </c:pt>
                <c:pt idx="33">
                  <c:v>31</c:v>
                </c:pt>
                <c:pt idx="34">
                  <c:v>33</c:v>
                </c:pt>
                <c:pt idx="35">
                  <c:v>32</c:v>
                </c:pt>
                <c:pt idx="36">
                  <c:v>42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2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6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4</c:v>
                </c:pt>
                <c:pt idx="74">
                  <c:v>57</c:v>
                </c:pt>
                <c:pt idx="75">
                  <c:v>58</c:v>
                </c:pt>
                <c:pt idx="76">
                  <c:v>69</c:v>
                </c:pt>
                <c:pt idx="77">
                  <c:v>69</c:v>
                </c:pt>
                <c:pt idx="78">
                  <c:v>72</c:v>
                </c:pt>
                <c:pt idx="79">
                  <c:v>69</c:v>
                </c:pt>
                <c:pt idx="80">
                  <c:v>71</c:v>
                </c:pt>
                <c:pt idx="81">
                  <c:v>60</c:v>
                </c:pt>
                <c:pt idx="82">
                  <c:v>65</c:v>
                </c:pt>
                <c:pt idx="83">
                  <c:v>69</c:v>
                </c:pt>
                <c:pt idx="84">
                  <c:v>68</c:v>
                </c:pt>
                <c:pt idx="85">
                  <c:v>71</c:v>
                </c:pt>
                <c:pt idx="86">
                  <c:v>69</c:v>
                </c:pt>
                <c:pt idx="87">
                  <c:v>62</c:v>
                </c:pt>
                <c:pt idx="88">
                  <c:v>56</c:v>
                </c:pt>
                <c:pt idx="89">
                  <c:v>54</c:v>
                </c:pt>
                <c:pt idx="90">
                  <c:v>60</c:v>
                </c:pt>
                <c:pt idx="91">
                  <c:v>55</c:v>
                </c:pt>
                <c:pt idx="92">
                  <c:v>62</c:v>
                </c:pt>
                <c:pt idx="93">
                  <c:v>64</c:v>
                </c:pt>
                <c:pt idx="94">
                  <c:v>63</c:v>
                </c:pt>
                <c:pt idx="95">
                  <c:v>60</c:v>
                </c:pt>
                <c:pt idx="96">
                  <c:v>68</c:v>
                </c:pt>
                <c:pt idx="97">
                  <c:v>91</c:v>
                </c:pt>
                <c:pt idx="98">
                  <c:v>96</c:v>
                </c:pt>
                <c:pt idx="99">
                  <c:v>101</c:v>
                </c:pt>
                <c:pt idx="100">
                  <c:v>112</c:v>
                </c:pt>
                <c:pt idx="101">
                  <c:v>116</c:v>
                </c:pt>
                <c:pt idx="102">
                  <c:v>114</c:v>
                </c:pt>
                <c:pt idx="103">
                  <c:v>126</c:v>
                </c:pt>
                <c:pt idx="104">
                  <c:v>156</c:v>
                </c:pt>
                <c:pt idx="105">
                  <c:v>162</c:v>
                </c:pt>
                <c:pt idx="106">
                  <c:v>167</c:v>
                </c:pt>
                <c:pt idx="107">
                  <c:v>165</c:v>
                </c:pt>
                <c:pt idx="108">
                  <c:v>180</c:v>
                </c:pt>
                <c:pt idx="109">
                  <c:v>158</c:v>
                </c:pt>
                <c:pt idx="110">
                  <c:v>161</c:v>
                </c:pt>
                <c:pt idx="111">
                  <c:v>180</c:v>
                </c:pt>
                <c:pt idx="112">
                  <c:v>176</c:v>
                </c:pt>
                <c:pt idx="113">
                  <c:v>177</c:v>
                </c:pt>
                <c:pt idx="114">
                  <c:v>179</c:v>
                </c:pt>
                <c:pt idx="115">
                  <c:v>184</c:v>
                </c:pt>
                <c:pt idx="116">
                  <c:v>185</c:v>
                </c:pt>
                <c:pt idx="117">
                  <c:v>195</c:v>
                </c:pt>
                <c:pt idx="118">
                  <c:v>227</c:v>
                </c:pt>
                <c:pt idx="119">
                  <c:v>224</c:v>
                </c:pt>
                <c:pt idx="120">
                  <c:v>251</c:v>
                </c:pt>
                <c:pt idx="121">
                  <c:v>249</c:v>
                </c:pt>
                <c:pt idx="122">
                  <c:v>240</c:v>
                </c:pt>
                <c:pt idx="123">
                  <c:v>230</c:v>
                </c:pt>
                <c:pt idx="124">
                  <c:v>243</c:v>
                </c:pt>
                <c:pt idx="125">
                  <c:v>294</c:v>
                </c:pt>
                <c:pt idx="126">
                  <c:v>297</c:v>
                </c:pt>
                <c:pt idx="127">
                  <c:v>320</c:v>
                </c:pt>
                <c:pt idx="128">
                  <c:v>312</c:v>
                </c:pt>
                <c:pt idx="129">
                  <c:v>338</c:v>
                </c:pt>
                <c:pt idx="130">
                  <c:v>328</c:v>
                </c:pt>
                <c:pt idx="131">
                  <c:v>342</c:v>
                </c:pt>
                <c:pt idx="132">
                  <c:v>406</c:v>
                </c:pt>
                <c:pt idx="133">
                  <c:v>421</c:v>
                </c:pt>
                <c:pt idx="134">
                  <c:v>446</c:v>
                </c:pt>
                <c:pt idx="135">
                  <c:v>470</c:v>
                </c:pt>
                <c:pt idx="136">
                  <c:v>488</c:v>
                </c:pt>
                <c:pt idx="137">
                  <c:v>466</c:v>
                </c:pt>
                <c:pt idx="138">
                  <c:v>485</c:v>
                </c:pt>
                <c:pt idx="139">
                  <c:v>544</c:v>
                </c:pt>
                <c:pt idx="140">
                  <c:v>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</c:v>
                </c:pt>
                <c:pt idx="1">
                  <c:v>24</c:v>
                </c:pt>
                <c:pt idx="2">
                  <c:v>18</c:v>
                </c:pt>
                <c:pt idx="3">
                  <c:v>13</c:v>
                </c:pt>
                <c:pt idx="4">
                  <c:v>12</c:v>
                </c:pt>
                <c:pt idx="5">
                  <c:v>12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8</c:v>
                </c:pt>
                <c:pt idx="10">
                  <c:v>8</c:v>
                </c:pt>
                <c:pt idx="11">
                  <c:v>7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1</c:v>
                </c:pt>
                <c:pt idx="40">
                  <c:v>2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1</c:v>
                </c:pt>
                <c:pt idx="55">
                  <c:v>4</c:v>
                </c:pt>
                <c:pt idx="56">
                  <c:v>4</c:v>
                </c:pt>
                <c:pt idx="57">
                  <c:v>3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3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4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4</c:v>
                </c:pt>
                <c:pt idx="102">
                  <c:v>4</c:v>
                </c:pt>
                <c:pt idx="103">
                  <c:v>4</c:v>
                </c:pt>
                <c:pt idx="104">
                  <c:v>6</c:v>
                </c:pt>
                <c:pt idx="105">
                  <c:v>7</c:v>
                </c:pt>
                <c:pt idx="106">
                  <c:v>11</c:v>
                </c:pt>
                <c:pt idx="107">
                  <c:v>10</c:v>
                </c:pt>
                <c:pt idx="108">
                  <c:v>11</c:v>
                </c:pt>
                <c:pt idx="109">
                  <c:v>10</c:v>
                </c:pt>
                <c:pt idx="110">
                  <c:v>10</c:v>
                </c:pt>
                <c:pt idx="111">
                  <c:v>12</c:v>
                </c:pt>
                <c:pt idx="112">
                  <c:v>11</c:v>
                </c:pt>
                <c:pt idx="113">
                  <c:v>10</c:v>
                </c:pt>
                <c:pt idx="114">
                  <c:v>9</c:v>
                </c:pt>
                <c:pt idx="115">
                  <c:v>8</c:v>
                </c:pt>
                <c:pt idx="116">
                  <c:v>6</c:v>
                </c:pt>
                <c:pt idx="117">
                  <c:v>6</c:v>
                </c:pt>
                <c:pt idx="118">
                  <c:v>7</c:v>
                </c:pt>
                <c:pt idx="119">
                  <c:v>7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8</c:v>
                </c:pt>
                <c:pt idx="126">
                  <c:v>8</c:v>
                </c:pt>
                <c:pt idx="127">
                  <c:v>9</c:v>
                </c:pt>
                <c:pt idx="128">
                  <c:v>9</c:v>
                </c:pt>
                <c:pt idx="129">
                  <c:v>12</c:v>
                </c:pt>
                <c:pt idx="130">
                  <c:v>12</c:v>
                </c:pt>
                <c:pt idx="131">
                  <c:v>11</c:v>
                </c:pt>
                <c:pt idx="132">
                  <c:v>11</c:v>
                </c:pt>
                <c:pt idx="133">
                  <c:v>13</c:v>
                </c:pt>
                <c:pt idx="134">
                  <c:v>11</c:v>
                </c:pt>
                <c:pt idx="135">
                  <c:v>10</c:v>
                </c:pt>
                <c:pt idx="136">
                  <c:v>11</c:v>
                </c:pt>
                <c:pt idx="137">
                  <c:v>11</c:v>
                </c:pt>
                <c:pt idx="138">
                  <c:v>12</c:v>
                </c:pt>
                <c:pt idx="139">
                  <c:v>11</c:v>
                </c:pt>
                <c:pt idx="14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843298198499024E-2"/>
          <c:y val="1.8549164763744776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9</c:v>
                </c:pt>
                <c:pt idx="2">
                  <c:v>15</c:v>
                </c:pt>
                <c:pt idx="3">
                  <c:v>17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4</c:v>
                </c:pt>
                <c:pt idx="10">
                  <c:v>10</c:v>
                </c:pt>
                <c:pt idx="11">
                  <c:v>10</c:v>
                </c:pt>
                <c:pt idx="12">
                  <c:v>11</c:v>
                </c:pt>
                <c:pt idx="13">
                  <c:v>13</c:v>
                </c:pt>
                <c:pt idx="14">
                  <c:v>12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9</c:v>
                </c:pt>
                <c:pt idx="22">
                  <c:v>8</c:v>
                </c:pt>
                <c:pt idx="23">
                  <c:v>7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4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1</c:v>
                </c:pt>
                <c:pt idx="58">
                  <c:v>2</c:v>
                </c:pt>
                <c:pt idx="59">
                  <c:v>4</c:v>
                </c:pt>
                <c:pt idx="60">
                  <c:v>3</c:v>
                </c:pt>
                <c:pt idx="61">
                  <c:v>3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6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6</c:v>
                </c:pt>
                <c:pt idx="78">
                  <c:v>6</c:v>
                </c:pt>
                <c:pt idx="79">
                  <c:v>5</c:v>
                </c:pt>
                <c:pt idx="80">
                  <c:v>6</c:v>
                </c:pt>
                <c:pt idx="81">
                  <c:v>3</c:v>
                </c:pt>
                <c:pt idx="82">
                  <c:v>4</c:v>
                </c:pt>
                <c:pt idx="83">
                  <c:v>6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1</c:v>
                </c:pt>
                <c:pt idx="92">
                  <c:v>1</c:v>
                </c:pt>
                <c:pt idx="93">
                  <c:v>3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3</c:v>
                </c:pt>
                <c:pt idx="98">
                  <c:v>5</c:v>
                </c:pt>
                <c:pt idx="99">
                  <c:v>4</c:v>
                </c:pt>
                <c:pt idx="100">
                  <c:v>4</c:v>
                </c:pt>
                <c:pt idx="101">
                  <c:v>3</c:v>
                </c:pt>
                <c:pt idx="102">
                  <c:v>3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5</c:v>
                </c:pt>
                <c:pt idx="107">
                  <c:v>4</c:v>
                </c:pt>
                <c:pt idx="108">
                  <c:v>16</c:v>
                </c:pt>
                <c:pt idx="109">
                  <c:v>17</c:v>
                </c:pt>
                <c:pt idx="110">
                  <c:v>17</c:v>
                </c:pt>
                <c:pt idx="111">
                  <c:v>16</c:v>
                </c:pt>
                <c:pt idx="112">
                  <c:v>17</c:v>
                </c:pt>
                <c:pt idx="113">
                  <c:v>17</c:v>
                </c:pt>
                <c:pt idx="114">
                  <c:v>19</c:v>
                </c:pt>
                <c:pt idx="115">
                  <c:v>18</c:v>
                </c:pt>
                <c:pt idx="116">
                  <c:v>17</c:v>
                </c:pt>
                <c:pt idx="117">
                  <c:v>20</c:v>
                </c:pt>
                <c:pt idx="118">
                  <c:v>20</c:v>
                </c:pt>
                <c:pt idx="119">
                  <c:v>19</c:v>
                </c:pt>
                <c:pt idx="120">
                  <c:v>19</c:v>
                </c:pt>
                <c:pt idx="121">
                  <c:v>20</c:v>
                </c:pt>
                <c:pt idx="122">
                  <c:v>17</c:v>
                </c:pt>
                <c:pt idx="123">
                  <c:v>5</c:v>
                </c:pt>
                <c:pt idx="124">
                  <c:v>4</c:v>
                </c:pt>
                <c:pt idx="125">
                  <c:v>4</c:v>
                </c:pt>
                <c:pt idx="126">
                  <c:v>5</c:v>
                </c:pt>
                <c:pt idx="127">
                  <c:v>4</c:v>
                </c:pt>
                <c:pt idx="128">
                  <c:v>6</c:v>
                </c:pt>
                <c:pt idx="129">
                  <c:v>5</c:v>
                </c:pt>
                <c:pt idx="130">
                  <c:v>5</c:v>
                </c:pt>
                <c:pt idx="131">
                  <c:v>4</c:v>
                </c:pt>
                <c:pt idx="132">
                  <c:v>7</c:v>
                </c:pt>
                <c:pt idx="133">
                  <c:v>8</c:v>
                </c:pt>
                <c:pt idx="134">
                  <c:v>10</c:v>
                </c:pt>
                <c:pt idx="135">
                  <c:v>11</c:v>
                </c:pt>
                <c:pt idx="136">
                  <c:v>11</c:v>
                </c:pt>
                <c:pt idx="137">
                  <c:v>11</c:v>
                </c:pt>
                <c:pt idx="138">
                  <c:v>9</c:v>
                </c:pt>
                <c:pt idx="139">
                  <c:v>10</c:v>
                </c:pt>
                <c:pt idx="14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</c:v>
                </c:pt>
                <c:pt idx="1">
                  <c:v>63</c:v>
                </c:pt>
                <c:pt idx="2">
                  <c:v>64</c:v>
                </c:pt>
                <c:pt idx="3">
                  <c:v>64</c:v>
                </c:pt>
                <c:pt idx="4">
                  <c:v>49</c:v>
                </c:pt>
                <c:pt idx="5">
                  <c:v>48</c:v>
                </c:pt>
                <c:pt idx="6">
                  <c:v>51</c:v>
                </c:pt>
                <c:pt idx="7">
                  <c:v>43</c:v>
                </c:pt>
                <c:pt idx="8">
                  <c:v>38</c:v>
                </c:pt>
                <c:pt idx="9">
                  <c:v>30</c:v>
                </c:pt>
                <c:pt idx="10">
                  <c:v>21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8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10</c:v>
                </c:pt>
                <c:pt idx="24">
                  <c:v>11</c:v>
                </c:pt>
                <c:pt idx="25">
                  <c:v>7</c:v>
                </c:pt>
                <c:pt idx="26">
                  <c:v>8</c:v>
                </c:pt>
                <c:pt idx="27">
                  <c:v>10</c:v>
                </c:pt>
                <c:pt idx="28">
                  <c:v>9</c:v>
                </c:pt>
                <c:pt idx="29">
                  <c:v>11</c:v>
                </c:pt>
                <c:pt idx="30">
                  <c:v>11</c:v>
                </c:pt>
                <c:pt idx="31">
                  <c:v>11</c:v>
                </c:pt>
                <c:pt idx="32">
                  <c:v>9</c:v>
                </c:pt>
                <c:pt idx="33">
                  <c:v>10</c:v>
                </c:pt>
                <c:pt idx="34">
                  <c:v>9</c:v>
                </c:pt>
                <c:pt idx="35">
                  <c:v>8</c:v>
                </c:pt>
                <c:pt idx="36">
                  <c:v>11</c:v>
                </c:pt>
                <c:pt idx="37">
                  <c:v>8</c:v>
                </c:pt>
                <c:pt idx="38">
                  <c:v>8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3</c:v>
                </c:pt>
                <c:pt idx="54">
                  <c:v>5</c:v>
                </c:pt>
                <c:pt idx="55">
                  <c:v>8</c:v>
                </c:pt>
                <c:pt idx="56">
                  <c:v>6</c:v>
                </c:pt>
                <c:pt idx="57">
                  <c:v>4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4</c:v>
                </c:pt>
                <c:pt idx="62">
                  <c:v>7</c:v>
                </c:pt>
                <c:pt idx="63">
                  <c:v>8</c:v>
                </c:pt>
                <c:pt idx="64">
                  <c:v>7</c:v>
                </c:pt>
                <c:pt idx="65">
                  <c:v>8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8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6</c:v>
                </c:pt>
                <c:pt idx="77">
                  <c:v>7</c:v>
                </c:pt>
                <c:pt idx="78">
                  <c:v>7</c:v>
                </c:pt>
                <c:pt idx="79">
                  <c:v>6</c:v>
                </c:pt>
                <c:pt idx="80">
                  <c:v>7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7</c:v>
                </c:pt>
                <c:pt idx="85">
                  <c:v>6</c:v>
                </c:pt>
                <c:pt idx="86">
                  <c:v>7</c:v>
                </c:pt>
                <c:pt idx="87">
                  <c:v>10</c:v>
                </c:pt>
                <c:pt idx="88">
                  <c:v>9</c:v>
                </c:pt>
                <c:pt idx="89">
                  <c:v>9</c:v>
                </c:pt>
                <c:pt idx="90">
                  <c:v>10</c:v>
                </c:pt>
                <c:pt idx="91">
                  <c:v>9</c:v>
                </c:pt>
                <c:pt idx="92">
                  <c:v>13</c:v>
                </c:pt>
                <c:pt idx="93">
                  <c:v>13</c:v>
                </c:pt>
                <c:pt idx="94">
                  <c:v>17</c:v>
                </c:pt>
                <c:pt idx="95">
                  <c:v>16</c:v>
                </c:pt>
                <c:pt idx="96">
                  <c:v>16</c:v>
                </c:pt>
                <c:pt idx="97">
                  <c:v>17</c:v>
                </c:pt>
                <c:pt idx="98">
                  <c:v>19</c:v>
                </c:pt>
                <c:pt idx="99">
                  <c:v>17</c:v>
                </c:pt>
                <c:pt idx="100">
                  <c:v>23</c:v>
                </c:pt>
                <c:pt idx="101">
                  <c:v>23</c:v>
                </c:pt>
                <c:pt idx="102">
                  <c:v>22</c:v>
                </c:pt>
                <c:pt idx="103">
                  <c:v>20</c:v>
                </c:pt>
                <c:pt idx="104">
                  <c:v>22</c:v>
                </c:pt>
                <c:pt idx="105">
                  <c:v>22</c:v>
                </c:pt>
                <c:pt idx="106">
                  <c:v>25</c:v>
                </c:pt>
                <c:pt idx="107">
                  <c:v>21</c:v>
                </c:pt>
                <c:pt idx="108">
                  <c:v>23</c:v>
                </c:pt>
                <c:pt idx="109">
                  <c:v>17</c:v>
                </c:pt>
                <c:pt idx="110">
                  <c:v>18</c:v>
                </c:pt>
                <c:pt idx="111">
                  <c:v>23</c:v>
                </c:pt>
                <c:pt idx="112">
                  <c:v>21</c:v>
                </c:pt>
                <c:pt idx="113">
                  <c:v>19</c:v>
                </c:pt>
                <c:pt idx="114">
                  <c:v>21</c:v>
                </c:pt>
                <c:pt idx="115">
                  <c:v>23</c:v>
                </c:pt>
                <c:pt idx="116">
                  <c:v>20</c:v>
                </c:pt>
                <c:pt idx="117">
                  <c:v>19</c:v>
                </c:pt>
                <c:pt idx="118">
                  <c:v>28</c:v>
                </c:pt>
                <c:pt idx="119">
                  <c:v>26</c:v>
                </c:pt>
                <c:pt idx="120">
                  <c:v>36</c:v>
                </c:pt>
                <c:pt idx="121">
                  <c:v>38</c:v>
                </c:pt>
                <c:pt idx="122">
                  <c:v>40</c:v>
                </c:pt>
                <c:pt idx="123">
                  <c:v>38</c:v>
                </c:pt>
                <c:pt idx="124">
                  <c:v>43</c:v>
                </c:pt>
                <c:pt idx="125">
                  <c:v>48</c:v>
                </c:pt>
                <c:pt idx="126">
                  <c:v>54</c:v>
                </c:pt>
                <c:pt idx="127">
                  <c:v>62</c:v>
                </c:pt>
                <c:pt idx="128">
                  <c:v>58</c:v>
                </c:pt>
                <c:pt idx="129">
                  <c:v>67</c:v>
                </c:pt>
                <c:pt idx="130">
                  <c:v>61</c:v>
                </c:pt>
                <c:pt idx="131">
                  <c:v>64</c:v>
                </c:pt>
                <c:pt idx="132">
                  <c:v>77</c:v>
                </c:pt>
                <c:pt idx="133">
                  <c:v>80</c:v>
                </c:pt>
                <c:pt idx="134">
                  <c:v>81</c:v>
                </c:pt>
                <c:pt idx="135">
                  <c:v>86</c:v>
                </c:pt>
                <c:pt idx="136">
                  <c:v>94</c:v>
                </c:pt>
                <c:pt idx="137">
                  <c:v>90</c:v>
                </c:pt>
                <c:pt idx="138">
                  <c:v>98</c:v>
                </c:pt>
                <c:pt idx="139">
                  <c:v>112</c:v>
                </c:pt>
                <c:pt idx="140">
                  <c:v>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4</c:v>
                </c:pt>
                <c:pt idx="5">
                  <c:v>25</c:v>
                </c:pt>
                <c:pt idx="6">
                  <c:v>25</c:v>
                </c:pt>
                <c:pt idx="7">
                  <c:v>14</c:v>
                </c:pt>
                <c:pt idx="8">
                  <c:v>14</c:v>
                </c:pt>
                <c:pt idx="9">
                  <c:v>13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7</c:v>
                </c:pt>
                <c:pt idx="15">
                  <c:v>5</c:v>
                </c:pt>
                <c:pt idx="16">
                  <c:v>6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0</c:v>
                </c:pt>
                <c:pt idx="62">
                  <c:v>1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3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5</c:v>
                </c:pt>
                <c:pt idx="91">
                  <c:v>5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8</c:v>
                </c:pt>
                <c:pt idx="96">
                  <c:v>8</c:v>
                </c:pt>
                <c:pt idx="97">
                  <c:v>7</c:v>
                </c:pt>
                <c:pt idx="98">
                  <c:v>6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8</c:v>
                </c:pt>
                <c:pt idx="106">
                  <c:v>8</c:v>
                </c:pt>
                <c:pt idx="107">
                  <c:v>7</c:v>
                </c:pt>
                <c:pt idx="108">
                  <c:v>5</c:v>
                </c:pt>
                <c:pt idx="109">
                  <c:v>3</c:v>
                </c:pt>
                <c:pt idx="110">
                  <c:v>2</c:v>
                </c:pt>
                <c:pt idx="111">
                  <c:v>3</c:v>
                </c:pt>
                <c:pt idx="112">
                  <c:v>1</c:v>
                </c:pt>
                <c:pt idx="113">
                  <c:v>3</c:v>
                </c:pt>
                <c:pt idx="114">
                  <c:v>5</c:v>
                </c:pt>
                <c:pt idx="115">
                  <c:v>6</c:v>
                </c:pt>
                <c:pt idx="116">
                  <c:v>7</c:v>
                </c:pt>
                <c:pt idx="117">
                  <c:v>7</c:v>
                </c:pt>
                <c:pt idx="118">
                  <c:v>7</c:v>
                </c:pt>
                <c:pt idx="119">
                  <c:v>7</c:v>
                </c:pt>
                <c:pt idx="120">
                  <c:v>8</c:v>
                </c:pt>
                <c:pt idx="121">
                  <c:v>8</c:v>
                </c:pt>
                <c:pt idx="122">
                  <c:v>8</c:v>
                </c:pt>
                <c:pt idx="123">
                  <c:v>9</c:v>
                </c:pt>
                <c:pt idx="124">
                  <c:v>13</c:v>
                </c:pt>
                <c:pt idx="125">
                  <c:v>15</c:v>
                </c:pt>
                <c:pt idx="126">
                  <c:v>9</c:v>
                </c:pt>
                <c:pt idx="127">
                  <c:v>12</c:v>
                </c:pt>
                <c:pt idx="128">
                  <c:v>18</c:v>
                </c:pt>
                <c:pt idx="129">
                  <c:v>21</c:v>
                </c:pt>
                <c:pt idx="130">
                  <c:v>22</c:v>
                </c:pt>
                <c:pt idx="131">
                  <c:v>23</c:v>
                </c:pt>
                <c:pt idx="132">
                  <c:v>28</c:v>
                </c:pt>
                <c:pt idx="133">
                  <c:v>30</c:v>
                </c:pt>
                <c:pt idx="134">
                  <c:v>33</c:v>
                </c:pt>
                <c:pt idx="135">
                  <c:v>35</c:v>
                </c:pt>
                <c:pt idx="136">
                  <c:v>39</c:v>
                </c:pt>
                <c:pt idx="137">
                  <c:v>36</c:v>
                </c:pt>
                <c:pt idx="138">
                  <c:v>36</c:v>
                </c:pt>
                <c:pt idx="139">
                  <c:v>39</c:v>
                </c:pt>
                <c:pt idx="140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9</c:v>
                </c:pt>
                <c:pt idx="1">
                  <c:v>78</c:v>
                </c:pt>
                <c:pt idx="2">
                  <c:v>70</c:v>
                </c:pt>
                <c:pt idx="3">
                  <c:v>63</c:v>
                </c:pt>
                <c:pt idx="4">
                  <c:v>50</c:v>
                </c:pt>
                <c:pt idx="5">
                  <c:v>50</c:v>
                </c:pt>
                <c:pt idx="6">
                  <c:v>48</c:v>
                </c:pt>
                <c:pt idx="7">
                  <c:v>44</c:v>
                </c:pt>
                <c:pt idx="8">
                  <c:v>41</c:v>
                </c:pt>
                <c:pt idx="9">
                  <c:v>38</c:v>
                </c:pt>
                <c:pt idx="10">
                  <c:v>33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1</c:v>
                </c:pt>
                <c:pt idx="15">
                  <c:v>15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3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3</c:v>
                </c:pt>
                <c:pt idx="79">
                  <c:v>3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2</c:v>
                </c:pt>
                <c:pt idx="93">
                  <c:v>3</c:v>
                </c:pt>
                <c:pt idx="94">
                  <c:v>3</c:v>
                </c:pt>
                <c:pt idx="95">
                  <c:v>5</c:v>
                </c:pt>
                <c:pt idx="96">
                  <c:v>8</c:v>
                </c:pt>
                <c:pt idx="97">
                  <c:v>9</c:v>
                </c:pt>
                <c:pt idx="98">
                  <c:v>12</c:v>
                </c:pt>
                <c:pt idx="99">
                  <c:v>11</c:v>
                </c:pt>
                <c:pt idx="100">
                  <c:v>11</c:v>
                </c:pt>
                <c:pt idx="101">
                  <c:v>10</c:v>
                </c:pt>
                <c:pt idx="102">
                  <c:v>12</c:v>
                </c:pt>
                <c:pt idx="103">
                  <c:v>13</c:v>
                </c:pt>
                <c:pt idx="104">
                  <c:v>14</c:v>
                </c:pt>
                <c:pt idx="105">
                  <c:v>13</c:v>
                </c:pt>
                <c:pt idx="106">
                  <c:v>13</c:v>
                </c:pt>
                <c:pt idx="107">
                  <c:v>13</c:v>
                </c:pt>
                <c:pt idx="108">
                  <c:v>13</c:v>
                </c:pt>
                <c:pt idx="109">
                  <c:v>12</c:v>
                </c:pt>
                <c:pt idx="110">
                  <c:v>14</c:v>
                </c:pt>
                <c:pt idx="111">
                  <c:v>14</c:v>
                </c:pt>
                <c:pt idx="112">
                  <c:v>12</c:v>
                </c:pt>
                <c:pt idx="113">
                  <c:v>12</c:v>
                </c:pt>
                <c:pt idx="114">
                  <c:v>8</c:v>
                </c:pt>
                <c:pt idx="115">
                  <c:v>9</c:v>
                </c:pt>
                <c:pt idx="116">
                  <c:v>10</c:v>
                </c:pt>
                <c:pt idx="117">
                  <c:v>11</c:v>
                </c:pt>
                <c:pt idx="118">
                  <c:v>12</c:v>
                </c:pt>
                <c:pt idx="119">
                  <c:v>11</c:v>
                </c:pt>
                <c:pt idx="120">
                  <c:v>12</c:v>
                </c:pt>
                <c:pt idx="121">
                  <c:v>13</c:v>
                </c:pt>
                <c:pt idx="122">
                  <c:v>12</c:v>
                </c:pt>
                <c:pt idx="123">
                  <c:v>12</c:v>
                </c:pt>
                <c:pt idx="124">
                  <c:v>13</c:v>
                </c:pt>
                <c:pt idx="125">
                  <c:v>14</c:v>
                </c:pt>
                <c:pt idx="126">
                  <c:v>13</c:v>
                </c:pt>
                <c:pt idx="127">
                  <c:v>15</c:v>
                </c:pt>
                <c:pt idx="128">
                  <c:v>18</c:v>
                </c:pt>
                <c:pt idx="129">
                  <c:v>20</c:v>
                </c:pt>
                <c:pt idx="130">
                  <c:v>18</c:v>
                </c:pt>
                <c:pt idx="131">
                  <c:v>19</c:v>
                </c:pt>
                <c:pt idx="132">
                  <c:v>24</c:v>
                </c:pt>
                <c:pt idx="133">
                  <c:v>28</c:v>
                </c:pt>
                <c:pt idx="134">
                  <c:v>27</c:v>
                </c:pt>
                <c:pt idx="135">
                  <c:v>30</c:v>
                </c:pt>
                <c:pt idx="136">
                  <c:v>34</c:v>
                </c:pt>
                <c:pt idx="137">
                  <c:v>37</c:v>
                </c:pt>
                <c:pt idx="138">
                  <c:v>41</c:v>
                </c:pt>
                <c:pt idx="139">
                  <c:v>46</c:v>
                </c:pt>
                <c:pt idx="14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</c:v>
                </c:pt>
                <c:pt idx="1">
                  <c:v>68</c:v>
                </c:pt>
                <c:pt idx="2">
                  <c:v>59</c:v>
                </c:pt>
                <c:pt idx="3">
                  <c:v>57</c:v>
                </c:pt>
                <c:pt idx="4">
                  <c:v>41</c:v>
                </c:pt>
                <c:pt idx="5">
                  <c:v>40</c:v>
                </c:pt>
                <c:pt idx="6">
                  <c:v>39</c:v>
                </c:pt>
                <c:pt idx="7">
                  <c:v>38</c:v>
                </c:pt>
                <c:pt idx="8">
                  <c:v>36</c:v>
                </c:pt>
                <c:pt idx="9">
                  <c:v>34</c:v>
                </c:pt>
                <c:pt idx="10">
                  <c:v>28</c:v>
                </c:pt>
                <c:pt idx="11">
                  <c:v>23</c:v>
                </c:pt>
                <c:pt idx="12">
                  <c:v>22</c:v>
                </c:pt>
                <c:pt idx="13">
                  <c:v>25</c:v>
                </c:pt>
                <c:pt idx="14">
                  <c:v>22</c:v>
                </c:pt>
                <c:pt idx="15">
                  <c:v>17</c:v>
                </c:pt>
                <c:pt idx="16">
                  <c:v>11</c:v>
                </c:pt>
                <c:pt idx="17">
                  <c:v>11</c:v>
                </c:pt>
                <c:pt idx="18">
                  <c:v>12</c:v>
                </c:pt>
                <c:pt idx="19">
                  <c:v>11</c:v>
                </c:pt>
                <c:pt idx="20">
                  <c:v>14</c:v>
                </c:pt>
                <c:pt idx="21">
                  <c:v>14</c:v>
                </c:pt>
                <c:pt idx="22">
                  <c:v>14</c:v>
                </c:pt>
                <c:pt idx="23">
                  <c:v>13</c:v>
                </c:pt>
                <c:pt idx="24">
                  <c:v>12</c:v>
                </c:pt>
                <c:pt idx="25">
                  <c:v>11</c:v>
                </c:pt>
                <c:pt idx="26">
                  <c:v>12</c:v>
                </c:pt>
                <c:pt idx="27">
                  <c:v>12</c:v>
                </c:pt>
                <c:pt idx="28">
                  <c:v>10</c:v>
                </c:pt>
                <c:pt idx="29">
                  <c:v>9</c:v>
                </c:pt>
                <c:pt idx="30">
                  <c:v>8</c:v>
                </c:pt>
                <c:pt idx="31">
                  <c:v>5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7</c:v>
                </c:pt>
                <c:pt idx="38">
                  <c:v>6</c:v>
                </c:pt>
                <c:pt idx="39">
                  <c:v>2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4</c:v>
                </c:pt>
                <c:pt idx="44">
                  <c:v>6</c:v>
                </c:pt>
                <c:pt idx="45">
                  <c:v>7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7</c:v>
                </c:pt>
                <c:pt idx="50">
                  <c:v>6</c:v>
                </c:pt>
                <c:pt idx="51">
                  <c:v>7</c:v>
                </c:pt>
                <c:pt idx="52">
                  <c:v>6</c:v>
                </c:pt>
                <c:pt idx="53">
                  <c:v>7</c:v>
                </c:pt>
                <c:pt idx="54">
                  <c:v>7</c:v>
                </c:pt>
                <c:pt idx="55">
                  <c:v>9</c:v>
                </c:pt>
                <c:pt idx="56">
                  <c:v>7</c:v>
                </c:pt>
                <c:pt idx="57">
                  <c:v>7</c:v>
                </c:pt>
                <c:pt idx="58">
                  <c:v>5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4</c:v>
                </c:pt>
                <c:pt idx="63">
                  <c:v>3</c:v>
                </c:pt>
                <c:pt idx="64">
                  <c:v>5</c:v>
                </c:pt>
                <c:pt idx="65">
                  <c:v>4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4</c:v>
                </c:pt>
                <c:pt idx="72">
                  <c:v>4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3</c:v>
                </c:pt>
                <c:pt idx="77">
                  <c:v>3</c:v>
                </c:pt>
                <c:pt idx="78">
                  <c:v>3</c:v>
                </c:pt>
                <c:pt idx="79">
                  <c:v>4</c:v>
                </c:pt>
                <c:pt idx="80">
                  <c:v>8</c:v>
                </c:pt>
                <c:pt idx="81">
                  <c:v>7</c:v>
                </c:pt>
                <c:pt idx="82">
                  <c:v>7</c:v>
                </c:pt>
                <c:pt idx="83">
                  <c:v>9</c:v>
                </c:pt>
                <c:pt idx="84">
                  <c:v>11</c:v>
                </c:pt>
                <c:pt idx="85">
                  <c:v>9</c:v>
                </c:pt>
                <c:pt idx="86">
                  <c:v>9</c:v>
                </c:pt>
                <c:pt idx="87">
                  <c:v>8</c:v>
                </c:pt>
                <c:pt idx="88">
                  <c:v>8</c:v>
                </c:pt>
                <c:pt idx="89">
                  <c:v>7</c:v>
                </c:pt>
                <c:pt idx="90">
                  <c:v>6</c:v>
                </c:pt>
                <c:pt idx="91">
                  <c:v>5</c:v>
                </c:pt>
                <c:pt idx="92">
                  <c:v>3</c:v>
                </c:pt>
                <c:pt idx="93">
                  <c:v>3</c:v>
                </c:pt>
                <c:pt idx="94">
                  <c:v>3</c:v>
                </c:pt>
                <c:pt idx="95">
                  <c:v>4</c:v>
                </c:pt>
                <c:pt idx="96">
                  <c:v>5</c:v>
                </c:pt>
                <c:pt idx="97">
                  <c:v>7</c:v>
                </c:pt>
                <c:pt idx="98">
                  <c:v>6</c:v>
                </c:pt>
                <c:pt idx="99">
                  <c:v>8</c:v>
                </c:pt>
                <c:pt idx="100">
                  <c:v>9</c:v>
                </c:pt>
                <c:pt idx="101">
                  <c:v>9</c:v>
                </c:pt>
                <c:pt idx="102">
                  <c:v>10</c:v>
                </c:pt>
                <c:pt idx="103">
                  <c:v>16</c:v>
                </c:pt>
                <c:pt idx="104">
                  <c:v>22</c:v>
                </c:pt>
                <c:pt idx="105">
                  <c:v>23</c:v>
                </c:pt>
                <c:pt idx="106">
                  <c:v>26</c:v>
                </c:pt>
                <c:pt idx="107">
                  <c:v>27</c:v>
                </c:pt>
                <c:pt idx="108">
                  <c:v>29</c:v>
                </c:pt>
                <c:pt idx="109">
                  <c:v>29</c:v>
                </c:pt>
                <c:pt idx="110">
                  <c:v>31</c:v>
                </c:pt>
                <c:pt idx="111">
                  <c:v>37</c:v>
                </c:pt>
                <c:pt idx="112">
                  <c:v>36</c:v>
                </c:pt>
                <c:pt idx="113">
                  <c:v>42</c:v>
                </c:pt>
                <c:pt idx="114">
                  <c:v>43</c:v>
                </c:pt>
                <c:pt idx="115">
                  <c:v>45</c:v>
                </c:pt>
                <c:pt idx="116">
                  <c:v>52</c:v>
                </c:pt>
                <c:pt idx="117">
                  <c:v>51</c:v>
                </c:pt>
                <c:pt idx="118">
                  <c:v>54</c:v>
                </c:pt>
                <c:pt idx="119">
                  <c:v>51</c:v>
                </c:pt>
                <c:pt idx="120">
                  <c:v>52</c:v>
                </c:pt>
                <c:pt idx="121">
                  <c:v>48</c:v>
                </c:pt>
                <c:pt idx="122">
                  <c:v>46</c:v>
                </c:pt>
                <c:pt idx="123">
                  <c:v>49</c:v>
                </c:pt>
                <c:pt idx="124">
                  <c:v>48</c:v>
                </c:pt>
                <c:pt idx="125">
                  <c:v>57</c:v>
                </c:pt>
                <c:pt idx="126">
                  <c:v>55</c:v>
                </c:pt>
                <c:pt idx="127">
                  <c:v>55</c:v>
                </c:pt>
                <c:pt idx="128">
                  <c:v>61</c:v>
                </c:pt>
                <c:pt idx="129">
                  <c:v>61</c:v>
                </c:pt>
                <c:pt idx="130">
                  <c:v>60</c:v>
                </c:pt>
                <c:pt idx="131">
                  <c:v>58</c:v>
                </c:pt>
                <c:pt idx="132">
                  <c:v>66</c:v>
                </c:pt>
                <c:pt idx="133">
                  <c:v>70</c:v>
                </c:pt>
                <c:pt idx="134">
                  <c:v>86</c:v>
                </c:pt>
                <c:pt idx="135">
                  <c:v>85</c:v>
                </c:pt>
                <c:pt idx="136">
                  <c:v>88</c:v>
                </c:pt>
                <c:pt idx="137">
                  <c:v>90</c:v>
                </c:pt>
                <c:pt idx="138">
                  <c:v>87</c:v>
                </c:pt>
                <c:pt idx="139">
                  <c:v>94</c:v>
                </c:pt>
                <c:pt idx="140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Y$6</c:f>
              <c:numCache>
                <c:formatCode>General</c:formatCode>
                <c:ptCount val="180"/>
                <c:pt idx="0">
                  <c:v>28</c:v>
                </c:pt>
                <c:pt idx="1">
                  <c:v>66</c:v>
                </c:pt>
                <c:pt idx="2">
                  <c:v>86</c:v>
                </c:pt>
                <c:pt idx="3">
                  <c:v>114</c:v>
                </c:pt>
                <c:pt idx="4">
                  <c:v>129</c:v>
                </c:pt>
                <c:pt idx="5">
                  <c:v>141</c:v>
                </c:pt>
                <c:pt idx="6">
                  <c:v>155</c:v>
                </c:pt>
                <c:pt idx="7">
                  <c:v>178</c:v>
                </c:pt>
                <c:pt idx="8">
                  <c:v>193</c:v>
                </c:pt>
                <c:pt idx="9">
                  <c:v>211</c:v>
                </c:pt>
                <c:pt idx="10">
                  <c:v>221</c:v>
                </c:pt>
                <c:pt idx="11">
                  <c:v>229</c:v>
                </c:pt>
                <c:pt idx="12">
                  <c:v>234</c:v>
                </c:pt>
                <c:pt idx="13">
                  <c:v>243</c:v>
                </c:pt>
                <c:pt idx="14">
                  <c:v>252</c:v>
                </c:pt>
                <c:pt idx="15">
                  <c:v>258</c:v>
                </c:pt>
                <c:pt idx="16">
                  <c:v>282</c:v>
                </c:pt>
                <c:pt idx="17">
                  <c:v>290</c:v>
                </c:pt>
                <c:pt idx="18">
                  <c:v>300</c:v>
                </c:pt>
                <c:pt idx="19">
                  <c:v>302</c:v>
                </c:pt>
                <c:pt idx="20">
                  <c:v>310</c:v>
                </c:pt>
                <c:pt idx="21">
                  <c:v>317</c:v>
                </c:pt>
                <c:pt idx="22">
                  <c:v>324</c:v>
                </c:pt>
                <c:pt idx="23">
                  <c:v>328</c:v>
                </c:pt>
                <c:pt idx="24">
                  <c:v>334</c:v>
                </c:pt>
                <c:pt idx="25">
                  <c:v>336</c:v>
                </c:pt>
                <c:pt idx="26">
                  <c:v>338</c:v>
                </c:pt>
                <c:pt idx="27">
                  <c:v>345</c:v>
                </c:pt>
                <c:pt idx="28">
                  <c:v>347</c:v>
                </c:pt>
                <c:pt idx="29">
                  <c:v>357</c:v>
                </c:pt>
                <c:pt idx="30">
                  <c:v>361</c:v>
                </c:pt>
                <c:pt idx="31">
                  <c:v>363</c:v>
                </c:pt>
                <c:pt idx="32">
                  <c:v>365</c:v>
                </c:pt>
                <c:pt idx="33">
                  <c:v>368</c:v>
                </c:pt>
                <c:pt idx="34">
                  <c:v>370</c:v>
                </c:pt>
                <c:pt idx="35">
                  <c:v>370</c:v>
                </c:pt>
                <c:pt idx="36">
                  <c:v>378</c:v>
                </c:pt>
                <c:pt idx="37">
                  <c:v>382</c:v>
                </c:pt>
                <c:pt idx="38">
                  <c:v>387</c:v>
                </c:pt>
                <c:pt idx="39">
                  <c:v>390</c:v>
                </c:pt>
                <c:pt idx="40">
                  <c:v>395</c:v>
                </c:pt>
                <c:pt idx="41">
                  <c:v>403</c:v>
                </c:pt>
                <c:pt idx="42">
                  <c:v>403</c:v>
                </c:pt>
                <c:pt idx="43">
                  <c:v>408</c:v>
                </c:pt>
                <c:pt idx="44">
                  <c:v>414</c:v>
                </c:pt>
                <c:pt idx="45">
                  <c:v>420</c:v>
                </c:pt>
                <c:pt idx="46">
                  <c:v>424</c:v>
                </c:pt>
                <c:pt idx="47">
                  <c:v>426</c:v>
                </c:pt>
                <c:pt idx="48">
                  <c:v>436</c:v>
                </c:pt>
                <c:pt idx="49">
                  <c:v>441</c:v>
                </c:pt>
                <c:pt idx="50">
                  <c:v>447</c:v>
                </c:pt>
                <c:pt idx="51">
                  <c:v>453</c:v>
                </c:pt>
                <c:pt idx="52">
                  <c:v>458</c:v>
                </c:pt>
                <c:pt idx="53">
                  <c:v>464</c:v>
                </c:pt>
                <c:pt idx="54">
                  <c:v>472</c:v>
                </c:pt>
                <c:pt idx="55">
                  <c:v>486</c:v>
                </c:pt>
                <c:pt idx="56">
                  <c:v>489</c:v>
                </c:pt>
                <c:pt idx="57">
                  <c:v>496</c:v>
                </c:pt>
                <c:pt idx="58">
                  <c:v>507</c:v>
                </c:pt>
                <c:pt idx="59">
                  <c:v>511</c:v>
                </c:pt>
                <c:pt idx="60">
                  <c:v>516</c:v>
                </c:pt>
                <c:pt idx="61">
                  <c:v>520</c:v>
                </c:pt>
                <c:pt idx="62">
                  <c:v>529</c:v>
                </c:pt>
                <c:pt idx="63">
                  <c:v>532</c:v>
                </c:pt>
                <c:pt idx="64">
                  <c:v>544</c:v>
                </c:pt>
                <c:pt idx="65">
                  <c:v>547</c:v>
                </c:pt>
                <c:pt idx="66">
                  <c:v>556</c:v>
                </c:pt>
                <c:pt idx="67">
                  <c:v>562</c:v>
                </c:pt>
                <c:pt idx="68">
                  <c:v>564</c:v>
                </c:pt>
                <c:pt idx="69">
                  <c:v>571</c:v>
                </c:pt>
                <c:pt idx="70">
                  <c:v>578</c:v>
                </c:pt>
                <c:pt idx="71">
                  <c:v>585</c:v>
                </c:pt>
                <c:pt idx="72">
                  <c:v>590</c:v>
                </c:pt>
                <c:pt idx="73">
                  <c:v>596</c:v>
                </c:pt>
                <c:pt idx="74">
                  <c:v>605</c:v>
                </c:pt>
                <c:pt idx="75">
                  <c:v>610</c:v>
                </c:pt>
                <c:pt idx="76">
                  <c:v>620</c:v>
                </c:pt>
                <c:pt idx="77">
                  <c:v>627</c:v>
                </c:pt>
                <c:pt idx="78">
                  <c:v>636</c:v>
                </c:pt>
                <c:pt idx="79">
                  <c:v>646</c:v>
                </c:pt>
                <c:pt idx="80">
                  <c:v>656</c:v>
                </c:pt>
                <c:pt idx="81">
                  <c:v>662</c:v>
                </c:pt>
                <c:pt idx="82">
                  <c:v>668</c:v>
                </c:pt>
                <c:pt idx="83">
                  <c:v>676</c:v>
                </c:pt>
                <c:pt idx="84">
                  <c:v>687</c:v>
                </c:pt>
                <c:pt idx="85">
                  <c:v>697</c:v>
                </c:pt>
                <c:pt idx="86">
                  <c:v>704</c:v>
                </c:pt>
                <c:pt idx="87">
                  <c:v>711</c:v>
                </c:pt>
                <c:pt idx="88">
                  <c:v>716</c:v>
                </c:pt>
                <c:pt idx="89">
                  <c:v>719</c:v>
                </c:pt>
                <c:pt idx="90">
                  <c:v>723</c:v>
                </c:pt>
                <c:pt idx="91">
                  <c:v>732</c:v>
                </c:pt>
                <c:pt idx="92">
                  <c:v>747</c:v>
                </c:pt>
                <c:pt idx="93">
                  <c:v>757</c:v>
                </c:pt>
                <c:pt idx="94">
                  <c:v>771</c:v>
                </c:pt>
                <c:pt idx="95">
                  <c:v>778</c:v>
                </c:pt>
                <c:pt idx="96">
                  <c:v>788</c:v>
                </c:pt>
                <c:pt idx="97">
                  <c:v>805</c:v>
                </c:pt>
                <c:pt idx="98">
                  <c:v>818</c:v>
                </c:pt>
                <c:pt idx="99">
                  <c:v>833</c:v>
                </c:pt>
                <c:pt idx="100">
                  <c:v>849</c:v>
                </c:pt>
                <c:pt idx="101">
                  <c:v>862</c:v>
                </c:pt>
                <c:pt idx="102">
                  <c:v>874</c:v>
                </c:pt>
                <c:pt idx="103">
                  <c:v>891</c:v>
                </c:pt>
                <c:pt idx="104">
                  <c:v>920</c:v>
                </c:pt>
                <c:pt idx="105">
                  <c:v>945</c:v>
                </c:pt>
                <c:pt idx="106">
                  <c:v>962</c:v>
                </c:pt>
                <c:pt idx="107">
                  <c:v>981</c:v>
                </c:pt>
                <c:pt idx="108">
                  <c:v>1012</c:v>
                </c:pt>
                <c:pt idx="109">
                  <c:v>1021</c:v>
                </c:pt>
                <c:pt idx="110">
                  <c:v>1035</c:v>
                </c:pt>
                <c:pt idx="111">
                  <c:v>1058</c:v>
                </c:pt>
                <c:pt idx="112">
                  <c:v>1077</c:v>
                </c:pt>
                <c:pt idx="113">
                  <c:v>1093</c:v>
                </c:pt>
                <c:pt idx="114">
                  <c:v>1113</c:v>
                </c:pt>
                <c:pt idx="115">
                  <c:v>1139</c:v>
                </c:pt>
                <c:pt idx="116">
                  <c:v>1159</c:v>
                </c:pt>
                <c:pt idx="117">
                  <c:v>1175</c:v>
                </c:pt>
                <c:pt idx="118">
                  <c:v>1209</c:v>
                </c:pt>
                <c:pt idx="119">
                  <c:v>1225</c:v>
                </c:pt>
                <c:pt idx="120">
                  <c:v>1261</c:v>
                </c:pt>
                <c:pt idx="121">
                  <c:v>1292</c:v>
                </c:pt>
                <c:pt idx="122">
                  <c:v>1321</c:v>
                </c:pt>
                <c:pt idx="123">
                  <c:v>1349</c:v>
                </c:pt>
                <c:pt idx="124">
                  <c:v>1374</c:v>
                </c:pt>
                <c:pt idx="125">
                  <c:v>1427</c:v>
                </c:pt>
                <c:pt idx="126">
                  <c:v>1467</c:v>
                </c:pt>
                <c:pt idx="127">
                  <c:v>1520</c:v>
                </c:pt>
                <c:pt idx="128">
                  <c:v>1559</c:v>
                </c:pt>
                <c:pt idx="129">
                  <c:v>1610</c:v>
                </c:pt>
                <c:pt idx="130">
                  <c:v>1638</c:v>
                </c:pt>
                <c:pt idx="131">
                  <c:v>1670</c:v>
                </c:pt>
                <c:pt idx="132">
                  <c:v>1738</c:v>
                </c:pt>
                <c:pt idx="133">
                  <c:v>1798</c:v>
                </c:pt>
                <c:pt idx="134">
                  <c:v>1861</c:v>
                </c:pt>
                <c:pt idx="135">
                  <c:v>1916</c:v>
                </c:pt>
                <c:pt idx="136">
                  <c:v>1989</c:v>
                </c:pt>
                <c:pt idx="137">
                  <c:v>2050</c:v>
                </c:pt>
                <c:pt idx="138">
                  <c:v>2094</c:v>
                </c:pt>
                <c:pt idx="139">
                  <c:v>2162</c:v>
                </c:pt>
                <c:pt idx="140">
                  <c:v>2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Y$3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Y$5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9</c:v>
                </c:pt>
                <c:pt idx="2">
                  <c:v>13</c:v>
                </c:pt>
                <c:pt idx="3">
                  <c:v>18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8</c:v>
                </c:pt>
                <c:pt idx="9">
                  <c:v>32</c:v>
                </c:pt>
                <c:pt idx="10">
                  <c:v>33</c:v>
                </c:pt>
                <c:pt idx="11">
                  <c:v>34</c:v>
                </c:pt>
                <c:pt idx="12">
                  <c:v>35</c:v>
                </c:pt>
                <c:pt idx="13">
                  <c:v>36</c:v>
                </c:pt>
                <c:pt idx="14">
                  <c:v>39</c:v>
                </c:pt>
                <c:pt idx="15">
                  <c:v>42</c:v>
                </c:pt>
                <c:pt idx="16">
                  <c:v>54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7</c:v>
                </c:pt>
                <c:pt idx="21">
                  <c:v>57</c:v>
                </c:pt>
                <c:pt idx="22">
                  <c:v>61</c:v>
                </c:pt>
                <c:pt idx="23">
                  <c:v>61</c:v>
                </c:pt>
                <c:pt idx="24">
                  <c:v>64</c:v>
                </c:pt>
                <c:pt idx="25">
                  <c:v>64</c:v>
                </c:pt>
                <c:pt idx="26">
                  <c:v>64</c:v>
                </c:pt>
                <c:pt idx="27">
                  <c:v>68</c:v>
                </c:pt>
                <c:pt idx="28">
                  <c:v>69</c:v>
                </c:pt>
                <c:pt idx="29">
                  <c:v>72</c:v>
                </c:pt>
                <c:pt idx="30">
                  <c:v>72</c:v>
                </c:pt>
                <c:pt idx="31">
                  <c:v>72</c:v>
                </c:pt>
                <c:pt idx="32">
                  <c:v>73</c:v>
                </c:pt>
                <c:pt idx="33">
                  <c:v>75</c:v>
                </c:pt>
                <c:pt idx="34">
                  <c:v>77</c:v>
                </c:pt>
                <c:pt idx="35">
                  <c:v>77</c:v>
                </c:pt>
                <c:pt idx="36">
                  <c:v>78</c:v>
                </c:pt>
                <c:pt idx="37">
                  <c:v>80</c:v>
                </c:pt>
                <c:pt idx="38">
                  <c:v>82</c:v>
                </c:pt>
                <c:pt idx="39">
                  <c:v>82</c:v>
                </c:pt>
                <c:pt idx="40">
                  <c:v>82</c:v>
                </c:pt>
                <c:pt idx="41">
                  <c:v>85</c:v>
                </c:pt>
                <c:pt idx="42">
                  <c:v>85</c:v>
                </c:pt>
                <c:pt idx="43">
                  <c:v>87</c:v>
                </c:pt>
                <c:pt idx="44">
                  <c:v>89</c:v>
                </c:pt>
                <c:pt idx="45">
                  <c:v>90</c:v>
                </c:pt>
                <c:pt idx="46">
                  <c:v>92</c:v>
                </c:pt>
                <c:pt idx="47">
                  <c:v>93</c:v>
                </c:pt>
                <c:pt idx="48">
                  <c:v>97</c:v>
                </c:pt>
                <c:pt idx="49">
                  <c:v>97</c:v>
                </c:pt>
                <c:pt idx="50">
                  <c:v>100</c:v>
                </c:pt>
                <c:pt idx="51">
                  <c:v>103</c:v>
                </c:pt>
                <c:pt idx="52">
                  <c:v>106</c:v>
                </c:pt>
                <c:pt idx="53">
                  <c:v>109</c:v>
                </c:pt>
                <c:pt idx="54">
                  <c:v>109</c:v>
                </c:pt>
                <c:pt idx="55">
                  <c:v>111</c:v>
                </c:pt>
                <c:pt idx="56">
                  <c:v>112</c:v>
                </c:pt>
                <c:pt idx="57">
                  <c:v>113</c:v>
                </c:pt>
                <c:pt idx="58">
                  <c:v>113</c:v>
                </c:pt>
                <c:pt idx="59">
                  <c:v>114</c:v>
                </c:pt>
                <c:pt idx="60">
                  <c:v>116</c:v>
                </c:pt>
                <c:pt idx="61">
                  <c:v>117</c:v>
                </c:pt>
                <c:pt idx="62">
                  <c:v>117</c:v>
                </c:pt>
                <c:pt idx="63">
                  <c:v>118</c:v>
                </c:pt>
                <c:pt idx="64">
                  <c:v>119</c:v>
                </c:pt>
                <c:pt idx="65">
                  <c:v>120</c:v>
                </c:pt>
                <c:pt idx="66">
                  <c:v>122</c:v>
                </c:pt>
                <c:pt idx="67">
                  <c:v>125</c:v>
                </c:pt>
                <c:pt idx="68">
                  <c:v>125</c:v>
                </c:pt>
                <c:pt idx="69">
                  <c:v>126</c:v>
                </c:pt>
                <c:pt idx="70">
                  <c:v>128</c:v>
                </c:pt>
                <c:pt idx="71">
                  <c:v>130</c:v>
                </c:pt>
                <c:pt idx="72">
                  <c:v>131</c:v>
                </c:pt>
                <c:pt idx="73">
                  <c:v>133</c:v>
                </c:pt>
                <c:pt idx="74">
                  <c:v>137</c:v>
                </c:pt>
                <c:pt idx="75">
                  <c:v>137</c:v>
                </c:pt>
                <c:pt idx="76">
                  <c:v>141</c:v>
                </c:pt>
                <c:pt idx="77">
                  <c:v>143</c:v>
                </c:pt>
                <c:pt idx="78">
                  <c:v>148</c:v>
                </c:pt>
                <c:pt idx="79">
                  <c:v>150</c:v>
                </c:pt>
                <c:pt idx="80">
                  <c:v>150</c:v>
                </c:pt>
                <c:pt idx="81">
                  <c:v>151</c:v>
                </c:pt>
                <c:pt idx="82">
                  <c:v>154</c:v>
                </c:pt>
                <c:pt idx="83">
                  <c:v>154</c:v>
                </c:pt>
                <c:pt idx="84">
                  <c:v>157</c:v>
                </c:pt>
                <c:pt idx="85">
                  <c:v>159</c:v>
                </c:pt>
                <c:pt idx="86">
                  <c:v>160</c:v>
                </c:pt>
                <c:pt idx="87">
                  <c:v>161</c:v>
                </c:pt>
                <c:pt idx="88">
                  <c:v>163</c:v>
                </c:pt>
                <c:pt idx="89">
                  <c:v>164</c:v>
                </c:pt>
                <c:pt idx="90">
                  <c:v>164</c:v>
                </c:pt>
                <c:pt idx="91">
                  <c:v>167</c:v>
                </c:pt>
                <c:pt idx="92">
                  <c:v>168</c:v>
                </c:pt>
                <c:pt idx="93">
                  <c:v>169</c:v>
                </c:pt>
                <c:pt idx="94">
                  <c:v>170</c:v>
                </c:pt>
                <c:pt idx="95">
                  <c:v>173</c:v>
                </c:pt>
                <c:pt idx="96">
                  <c:v>176</c:v>
                </c:pt>
                <c:pt idx="97">
                  <c:v>180</c:v>
                </c:pt>
                <c:pt idx="98">
                  <c:v>181</c:v>
                </c:pt>
                <c:pt idx="99">
                  <c:v>186</c:v>
                </c:pt>
                <c:pt idx="100">
                  <c:v>191</c:v>
                </c:pt>
                <c:pt idx="101">
                  <c:v>193</c:v>
                </c:pt>
                <c:pt idx="102">
                  <c:v>196</c:v>
                </c:pt>
                <c:pt idx="103">
                  <c:v>200</c:v>
                </c:pt>
                <c:pt idx="104">
                  <c:v>203</c:v>
                </c:pt>
                <c:pt idx="105">
                  <c:v>209</c:v>
                </c:pt>
                <c:pt idx="106">
                  <c:v>209</c:v>
                </c:pt>
                <c:pt idx="107">
                  <c:v>214</c:v>
                </c:pt>
                <c:pt idx="108">
                  <c:v>217</c:v>
                </c:pt>
                <c:pt idx="109">
                  <c:v>218</c:v>
                </c:pt>
                <c:pt idx="110">
                  <c:v>221</c:v>
                </c:pt>
                <c:pt idx="111">
                  <c:v>224</c:v>
                </c:pt>
                <c:pt idx="112">
                  <c:v>226</c:v>
                </c:pt>
                <c:pt idx="113">
                  <c:v>227</c:v>
                </c:pt>
                <c:pt idx="114">
                  <c:v>228</c:v>
                </c:pt>
                <c:pt idx="115">
                  <c:v>237</c:v>
                </c:pt>
                <c:pt idx="116">
                  <c:v>240</c:v>
                </c:pt>
                <c:pt idx="117">
                  <c:v>243</c:v>
                </c:pt>
                <c:pt idx="118">
                  <c:v>248</c:v>
                </c:pt>
                <c:pt idx="119">
                  <c:v>250</c:v>
                </c:pt>
                <c:pt idx="120">
                  <c:v>260</c:v>
                </c:pt>
                <c:pt idx="121">
                  <c:v>267</c:v>
                </c:pt>
                <c:pt idx="122">
                  <c:v>272</c:v>
                </c:pt>
                <c:pt idx="123">
                  <c:v>279</c:v>
                </c:pt>
                <c:pt idx="124">
                  <c:v>284</c:v>
                </c:pt>
                <c:pt idx="125">
                  <c:v>295</c:v>
                </c:pt>
                <c:pt idx="126">
                  <c:v>304</c:v>
                </c:pt>
                <c:pt idx="127">
                  <c:v>314</c:v>
                </c:pt>
                <c:pt idx="128">
                  <c:v>318</c:v>
                </c:pt>
                <c:pt idx="129">
                  <c:v>322</c:v>
                </c:pt>
                <c:pt idx="130">
                  <c:v>325</c:v>
                </c:pt>
                <c:pt idx="131">
                  <c:v>334</c:v>
                </c:pt>
                <c:pt idx="132">
                  <c:v>342</c:v>
                </c:pt>
                <c:pt idx="133">
                  <c:v>351</c:v>
                </c:pt>
                <c:pt idx="134">
                  <c:v>358</c:v>
                </c:pt>
                <c:pt idx="135">
                  <c:v>369</c:v>
                </c:pt>
                <c:pt idx="136">
                  <c:v>372</c:v>
                </c:pt>
                <c:pt idx="137">
                  <c:v>378</c:v>
                </c:pt>
                <c:pt idx="138">
                  <c:v>381</c:v>
                </c:pt>
                <c:pt idx="139">
                  <c:v>398</c:v>
                </c:pt>
                <c:pt idx="140">
                  <c:v>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7</c:v>
                </c:pt>
                <c:pt idx="9">
                  <c:v>9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2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6</c:v>
                </c:pt>
                <c:pt idx="37">
                  <c:v>16</c:v>
                </c:pt>
                <c:pt idx="38">
                  <c:v>18</c:v>
                </c:pt>
                <c:pt idx="39">
                  <c:v>18</c:v>
                </c:pt>
                <c:pt idx="40">
                  <c:v>18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2</c:v>
                </c:pt>
                <c:pt idx="46">
                  <c:v>22</c:v>
                </c:pt>
                <c:pt idx="47">
                  <c:v>22</c:v>
                </c:pt>
                <c:pt idx="48">
                  <c:v>22</c:v>
                </c:pt>
                <c:pt idx="49">
                  <c:v>22</c:v>
                </c:pt>
                <c:pt idx="50">
                  <c:v>22</c:v>
                </c:pt>
                <c:pt idx="51">
                  <c:v>22</c:v>
                </c:pt>
                <c:pt idx="52">
                  <c:v>22</c:v>
                </c:pt>
                <c:pt idx="53">
                  <c:v>22</c:v>
                </c:pt>
                <c:pt idx="54">
                  <c:v>22</c:v>
                </c:pt>
                <c:pt idx="55">
                  <c:v>23</c:v>
                </c:pt>
                <c:pt idx="56">
                  <c:v>23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5</c:v>
                </c:pt>
                <c:pt idx="61">
                  <c:v>25</c:v>
                </c:pt>
                <c:pt idx="62">
                  <c:v>27</c:v>
                </c:pt>
                <c:pt idx="63">
                  <c:v>27</c:v>
                </c:pt>
                <c:pt idx="64">
                  <c:v>28</c:v>
                </c:pt>
                <c:pt idx="65">
                  <c:v>28</c:v>
                </c:pt>
                <c:pt idx="66">
                  <c:v>29</c:v>
                </c:pt>
                <c:pt idx="67">
                  <c:v>29</c:v>
                </c:pt>
                <c:pt idx="68">
                  <c:v>29</c:v>
                </c:pt>
                <c:pt idx="69">
                  <c:v>29</c:v>
                </c:pt>
                <c:pt idx="70">
                  <c:v>29</c:v>
                </c:pt>
                <c:pt idx="71">
                  <c:v>29</c:v>
                </c:pt>
                <c:pt idx="72">
                  <c:v>30</c:v>
                </c:pt>
                <c:pt idx="73">
                  <c:v>30</c:v>
                </c:pt>
                <c:pt idx="74">
                  <c:v>30</c:v>
                </c:pt>
                <c:pt idx="75">
                  <c:v>30</c:v>
                </c:pt>
                <c:pt idx="76">
                  <c:v>30</c:v>
                </c:pt>
                <c:pt idx="77">
                  <c:v>30</c:v>
                </c:pt>
                <c:pt idx="78">
                  <c:v>30</c:v>
                </c:pt>
                <c:pt idx="79">
                  <c:v>31</c:v>
                </c:pt>
                <c:pt idx="80">
                  <c:v>32</c:v>
                </c:pt>
                <c:pt idx="81">
                  <c:v>33</c:v>
                </c:pt>
                <c:pt idx="82">
                  <c:v>34</c:v>
                </c:pt>
                <c:pt idx="83">
                  <c:v>35</c:v>
                </c:pt>
                <c:pt idx="84">
                  <c:v>35</c:v>
                </c:pt>
                <c:pt idx="85">
                  <c:v>36</c:v>
                </c:pt>
                <c:pt idx="86">
                  <c:v>36</c:v>
                </c:pt>
                <c:pt idx="87">
                  <c:v>36</c:v>
                </c:pt>
                <c:pt idx="88">
                  <c:v>37</c:v>
                </c:pt>
                <c:pt idx="89">
                  <c:v>38</c:v>
                </c:pt>
                <c:pt idx="90">
                  <c:v>38</c:v>
                </c:pt>
                <c:pt idx="91">
                  <c:v>38</c:v>
                </c:pt>
                <c:pt idx="92">
                  <c:v>38</c:v>
                </c:pt>
                <c:pt idx="93">
                  <c:v>40</c:v>
                </c:pt>
                <c:pt idx="94">
                  <c:v>42</c:v>
                </c:pt>
                <c:pt idx="95">
                  <c:v>42</c:v>
                </c:pt>
                <c:pt idx="96">
                  <c:v>42</c:v>
                </c:pt>
                <c:pt idx="97">
                  <c:v>42</c:v>
                </c:pt>
                <c:pt idx="98">
                  <c:v>42</c:v>
                </c:pt>
                <c:pt idx="99">
                  <c:v>43</c:v>
                </c:pt>
                <c:pt idx="100">
                  <c:v>43</c:v>
                </c:pt>
                <c:pt idx="101">
                  <c:v>45</c:v>
                </c:pt>
                <c:pt idx="102">
                  <c:v>46</c:v>
                </c:pt>
                <c:pt idx="103">
                  <c:v>46</c:v>
                </c:pt>
                <c:pt idx="104">
                  <c:v>48</c:v>
                </c:pt>
                <c:pt idx="105">
                  <c:v>51</c:v>
                </c:pt>
                <c:pt idx="106">
                  <c:v>52</c:v>
                </c:pt>
                <c:pt idx="107">
                  <c:v>54</c:v>
                </c:pt>
                <c:pt idx="108">
                  <c:v>57</c:v>
                </c:pt>
                <c:pt idx="109">
                  <c:v>58</c:v>
                </c:pt>
                <c:pt idx="110">
                  <c:v>58</c:v>
                </c:pt>
                <c:pt idx="111">
                  <c:v>60</c:v>
                </c:pt>
                <c:pt idx="112">
                  <c:v>62</c:v>
                </c:pt>
                <c:pt idx="113">
                  <c:v>63</c:v>
                </c:pt>
                <c:pt idx="114">
                  <c:v>63</c:v>
                </c:pt>
                <c:pt idx="115">
                  <c:v>64</c:v>
                </c:pt>
                <c:pt idx="116">
                  <c:v>64</c:v>
                </c:pt>
                <c:pt idx="117">
                  <c:v>65</c:v>
                </c:pt>
                <c:pt idx="118">
                  <c:v>65</c:v>
                </c:pt>
                <c:pt idx="119">
                  <c:v>66</c:v>
                </c:pt>
                <c:pt idx="120">
                  <c:v>67</c:v>
                </c:pt>
                <c:pt idx="121">
                  <c:v>70</c:v>
                </c:pt>
                <c:pt idx="122">
                  <c:v>72</c:v>
                </c:pt>
                <c:pt idx="123">
                  <c:v>72</c:v>
                </c:pt>
                <c:pt idx="124">
                  <c:v>74</c:v>
                </c:pt>
                <c:pt idx="125">
                  <c:v>80</c:v>
                </c:pt>
                <c:pt idx="126">
                  <c:v>85</c:v>
                </c:pt>
                <c:pt idx="127">
                  <c:v>88</c:v>
                </c:pt>
                <c:pt idx="128">
                  <c:v>88</c:v>
                </c:pt>
                <c:pt idx="129">
                  <c:v>96</c:v>
                </c:pt>
                <c:pt idx="130">
                  <c:v>97</c:v>
                </c:pt>
                <c:pt idx="131">
                  <c:v>99</c:v>
                </c:pt>
                <c:pt idx="132">
                  <c:v>104</c:v>
                </c:pt>
                <c:pt idx="133">
                  <c:v>106</c:v>
                </c:pt>
                <c:pt idx="134">
                  <c:v>108</c:v>
                </c:pt>
                <c:pt idx="135">
                  <c:v>110</c:v>
                </c:pt>
                <c:pt idx="136">
                  <c:v>115</c:v>
                </c:pt>
                <c:pt idx="137">
                  <c:v>119</c:v>
                </c:pt>
                <c:pt idx="138">
                  <c:v>119</c:v>
                </c:pt>
                <c:pt idx="139">
                  <c:v>122</c:v>
                </c:pt>
                <c:pt idx="140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5</c:v>
                </c:pt>
                <c:pt idx="3">
                  <c:v>9</c:v>
                </c:pt>
                <c:pt idx="4">
                  <c:v>10</c:v>
                </c:pt>
                <c:pt idx="5">
                  <c:v>12</c:v>
                </c:pt>
                <c:pt idx="6">
                  <c:v>12</c:v>
                </c:pt>
                <c:pt idx="7">
                  <c:v>17</c:v>
                </c:pt>
                <c:pt idx="8">
                  <c:v>17</c:v>
                </c:pt>
                <c:pt idx="9">
                  <c:v>18</c:v>
                </c:pt>
                <c:pt idx="10">
                  <c:v>20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4</c:v>
                </c:pt>
                <c:pt idx="15">
                  <c:v>24</c:v>
                </c:pt>
                <c:pt idx="16">
                  <c:v>27</c:v>
                </c:pt>
                <c:pt idx="17">
                  <c:v>27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29</c:v>
                </c:pt>
                <c:pt idx="37">
                  <c:v>30</c:v>
                </c:pt>
                <c:pt idx="38">
                  <c:v>30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1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1</c:v>
                </c:pt>
                <c:pt idx="48">
                  <c:v>31</c:v>
                </c:pt>
                <c:pt idx="49">
                  <c:v>31</c:v>
                </c:pt>
                <c:pt idx="50">
                  <c:v>31</c:v>
                </c:pt>
                <c:pt idx="51">
                  <c:v>31</c:v>
                </c:pt>
                <c:pt idx="52">
                  <c:v>31</c:v>
                </c:pt>
                <c:pt idx="53">
                  <c:v>32</c:v>
                </c:pt>
                <c:pt idx="54">
                  <c:v>33</c:v>
                </c:pt>
                <c:pt idx="55">
                  <c:v>33</c:v>
                </c:pt>
                <c:pt idx="56">
                  <c:v>34</c:v>
                </c:pt>
                <c:pt idx="57">
                  <c:v>37</c:v>
                </c:pt>
                <c:pt idx="58">
                  <c:v>37</c:v>
                </c:pt>
                <c:pt idx="59">
                  <c:v>37</c:v>
                </c:pt>
                <c:pt idx="60">
                  <c:v>37</c:v>
                </c:pt>
                <c:pt idx="61">
                  <c:v>37</c:v>
                </c:pt>
                <c:pt idx="62">
                  <c:v>37</c:v>
                </c:pt>
                <c:pt idx="63">
                  <c:v>37</c:v>
                </c:pt>
                <c:pt idx="64">
                  <c:v>40</c:v>
                </c:pt>
                <c:pt idx="65">
                  <c:v>40</c:v>
                </c:pt>
                <c:pt idx="66">
                  <c:v>41</c:v>
                </c:pt>
                <c:pt idx="67">
                  <c:v>42</c:v>
                </c:pt>
                <c:pt idx="68">
                  <c:v>43</c:v>
                </c:pt>
                <c:pt idx="69">
                  <c:v>44</c:v>
                </c:pt>
                <c:pt idx="70">
                  <c:v>44</c:v>
                </c:pt>
                <c:pt idx="71">
                  <c:v>45</c:v>
                </c:pt>
                <c:pt idx="72">
                  <c:v>45</c:v>
                </c:pt>
                <c:pt idx="73">
                  <c:v>45</c:v>
                </c:pt>
                <c:pt idx="74">
                  <c:v>45</c:v>
                </c:pt>
                <c:pt idx="75">
                  <c:v>46</c:v>
                </c:pt>
                <c:pt idx="76">
                  <c:v>46</c:v>
                </c:pt>
                <c:pt idx="77">
                  <c:v>47</c:v>
                </c:pt>
                <c:pt idx="78">
                  <c:v>48</c:v>
                </c:pt>
                <c:pt idx="79">
                  <c:v>49</c:v>
                </c:pt>
                <c:pt idx="80">
                  <c:v>49</c:v>
                </c:pt>
                <c:pt idx="81">
                  <c:v>49</c:v>
                </c:pt>
                <c:pt idx="82">
                  <c:v>49</c:v>
                </c:pt>
                <c:pt idx="83">
                  <c:v>49</c:v>
                </c:pt>
                <c:pt idx="84">
                  <c:v>50</c:v>
                </c:pt>
                <c:pt idx="85">
                  <c:v>52</c:v>
                </c:pt>
                <c:pt idx="86">
                  <c:v>52</c:v>
                </c:pt>
                <c:pt idx="87">
                  <c:v>53</c:v>
                </c:pt>
                <c:pt idx="88">
                  <c:v>54</c:v>
                </c:pt>
                <c:pt idx="89">
                  <c:v>54</c:v>
                </c:pt>
                <c:pt idx="90">
                  <c:v>54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  <c:pt idx="94">
                  <c:v>57</c:v>
                </c:pt>
                <c:pt idx="95">
                  <c:v>57</c:v>
                </c:pt>
                <c:pt idx="96">
                  <c:v>58</c:v>
                </c:pt>
                <c:pt idx="97">
                  <c:v>58</c:v>
                </c:pt>
                <c:pt idx="98">
                  <c:v>58</c:v>
                </c:pt>
                <c:pt idx="99">
                  <c:v>59</c:v>
                </c:pt>
                <c:pt idx="100">
                  <c:v>59</c:v>
                </c:pt>
                <c:pt idx="101">
                  <c:v>59</c:v>
                </c:pt>
                <c:pt idx="102">
                  <c:v>59</c:v>
                </c:pt>
                <c:pt idx="103">
                  <c:v>59</c:v>
                </c:pt>
                <c:pt idx="104">
                  <c:v>59</c:v>
                </c:pt>
                <c:pt idx="105">
                  <c:v>59</c:v>
                </c:pt>
                <c:pt idx="106">
                  <c:v>59</c:v>
                </c:pt>
                <c:pt idx="107">
                  <c:v>61</c:v>
                </c:pt>
                <c:pt idx="108">
                  <c:v>61</c:v>
                </c:pt>
                <c:pt idx="109">
                  <c:v>61</c:v>
                </c:pt>
                <c:pt idx="110">
                  <c:v>61</c:v>
                </c:pt>
                <c:pt idx="111">
                  <c:v>62</c:v>
                </c:pt>
                <c:pt idx="112">
                  <c:v>65</c:v>
                </c:pt>
                <c:pt idx="113">
                  <c:v>66</c:v>
                </c:pt>
                <c:pt idx="114">
                  <c:v>67</c:v>
                </c:pt>
                <c:pt idx="115">
                  <c:v>67</c:v>
                </c:pt>
                <c:pt idx="116">
                  <c:v>70</c:v>
                </c:pt>
                <c:pt idx="117">
                  <c:v>73</c:v>
                </c:pt>
                <c:pt idx="118">
                  <c:v>79</c:v>
                </c:pt>
                <c:pt idx="119">
                  <c:v>80</c:v>
                </c:pt>
                <c:pt idx="120">
                  <c:v>85</c:v>
                </c:pt>
                <c:pt idx="121">
                  <c:v>85</c:v>
                </c:pt>
                <c:pt idx="122">
                  <c:v>89</c:v>
                </c:pt>
                <c:pt idx="123">
                  <c:v>91</c:v>
                </c:pt>
                <c:pt idx="124">
                  <c:v>93</c:v>
                </c:pt>
                <c:pt idx="125">
                  <c:v>97</c:v>
                </c:pt>
                <c:pt idx="126">
                  <c:v>102</c:v>
                </c:pt>
                <c:pt idx="127">
                  <c:v>105</c:v>
                </c:pt>
                <c:pt idx="128">
                  <c:v>109</c:v>
                </c:pt>
                <c:pt idx="129">
                  <c:v>118</c:v>
                </c:pt>
                <c:pt idx="130">
                  <c:v>120</c:v>
                </c:pt>
                <c:pt idx="131">
                  <c:v>125</c:v>
                </c:pt>
                <c:pt idx="132">
                  <c:v>130</c:v>
                </c:pt>
                <c:pt idx="133">
                  <c:v>135</c:v>
                </c:pt>
                <c:pt idx="134">
                  <c:v>140</c:v>
                </c:pt>
                <c:pt idx="135">
                  <c:v>142</c:v>
                </c:pt>
                <c:pt idx="136">
                  <c:v>154</c:v>
                </c:pt>
                <c:pt idx="137">
                  <c:v>165</c:v>
                </c:pt>
                <c:pt idx="138">
                  <c:v>177</c:v>
                </c:pt>
                <c:pt idx="139">
                  <c:v>188</c:v>
                </c:pt>
                <c:pt idx="140">
                  <c:v>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</c:v>
                </c:pt>
                <c:pt idx="1">
                  <c:v>37</c:v>
                </c:pt>
                <c:pt idx="2">
                  <c:v>36</c:v>
                </c:pt>
                <c:pt idx="3">
                  <c:v>35</c:v>
                </c:pt>
                <c:pt idx="4">
                  <c:v>32</c:v>
                </c:pt>
                <c:pt idx="5">
                  <c:v>31</c:v>
                </c:pt>
                <c:pt idx="6">
                  <c:v>30</c:v>
                </c:pt>
                <c:pt idx="7">
                  <c:v>31</c:v>
                </c:pt>
                <c:pt idx="8">
                  <c:v>27</c:v>
                </c:pt>
                <c:pt idx="9">
                  <c:v>28</c:v>
                </c:pt>
                <c:pt idx="10">
                  <c:v>26</c:v>
                </c:pt>
                <c:pt idx="11">
                  <c:v>22</c:v>
                </c:pt>
                <c:pt idx="12">
                  <c:v>20</c:v>
                </c:pt>
                <c:pt idx="13">
                  <c:v>20</c:v>
                </c:pt>
                <c:pt idx="14">
                  <c:v>23</c:v>
                </c:pt>
                <c:pt idx="15">
                  <c:v>25</c:v>
                </c:pt>
                <c:pt idx="16">
                  <c:v>29</c:v>
                </c:pt>
                <c:pt idx="17">
                  <c:v>25</c:v>
                </c:pt>
                <c:pt idx="18">
                  <c:v>20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18</c:v>
                </c:pt>
                <c:pt idx="24">
                  <c:v>20</c:v>
                </c:pt>
                <c:pt idx="25">
                  <c:v>18</c:v>
                </c:pt>
                <c:pt idx="26">
                  <c:v>16</c:v>
                </c:pt>
                <c:pt idx="27">
                  <c:v>19</c:v>
                </c:pt>
                <c:pt idx="28">
                  <c:v>18</c:v>
                </c:pt>
                <c:pt idx="29">
                  <c:v>21</c:v>
                </c:pt>
                <c:pt idx="30">
                  <c:v>16</c:v>
                </c:pt>
                <c:pt idx="31">
                  <c:v>10</c:v>
                </c:pt>
                <c:pt idx="32">
                  <c:v>2</c:v>
                </c:pt>
                <c:pt idx="33">
                  <c:v>4</c:v>
                </c:pt>
                <c:pt idx="34">
                  <c:v>9</c:v>
                </c:pt>
                <c:pt idx="35">
                  <c:v>9</c:v>
                </c:pt>
                <c:pt idx="36">
                  <c:v>12</c:v>
                </c:pt>
                <c:pt idx="37">
                  <c:v>11</c:v>
                </c:pt>
                <c:pt idx="38">
                  <c:v>10</c:v>
                </c:pt>
                <c:pt idx="39">
                  <c:v>8</c:v>
                </c:pt>
                <c:pt idx="40">
                  <c:v>5</c:v>
                </c:pt>
                <c:pt idx="41">
                  <c:v>8</c:v>
                </c:pt>
                <c:pt idx="42">
                  <c:v>8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11</c:v>
                </c:pt>
                <c:pt idx="49">
                  <c:v>9</c:v>
                </c:pt>
                <c:pt idx="50">
                  <c:v>11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8</c:v>
                </c:pt>
                <c:pt idx="60">
                  <c:v>17</c:v>
                </c:pt>
                <c:pt idx="61">
                  <c:v>14</c:v>
                </c:pt>
                <c:pt idx="62">
                  <c:v>14</c:v>
                </c:pt>
                <c:pt idx="63">
                  <c:v>13</c:v>
                </c:pt>
                <c:pt idx="64">
                  <c:v>9</c:v>
                </c:pt>
                <c:pt idx="65">
                  <c:v>10</c:v>
                </c:pt>
                <c:pt idx="66">
                  <c:v>12</c:v>
                </c:pt>
                <c:pt idx="67">
                  <c:v>13</c:v>
                </c:pt>
                <c:pt idx="68">
                  <c:v>10</c:v>
                </c:pt>
                <c:pt idx="69">
                  <c:v>10</c:v>
                </c:pt>
                <c:pt idx="70">
                  <c:v>10</c:v>
                </c:pt>
                <c:pt idx="71">
                  <c:v>11</c:v>
                </c:pt>
                <c:pt idx="72">
                  <c:v>12</c:v>
                </c:pt>
                <c:pt idx="73">
                  <c:v>13</c:v>
                </c:pt>
                <c:pt idx="74">
                  <c:v>15</c:v>
                </c:pt>
                <c:pt idx="75">
                  <c:v>12</c:v>
                </c:pt>
                <c:pt idx="76">
                  <c:v>15</c:v>
                </c:pt>
                <c:pt idx="77">
                  <c:v>15</c:v>
                </c:pt>
                <c:pt idx="78">
                  <c:v>21</c:v>
                </c:pt>
                <c:pt idx="79">
                  <c:v>19</c:v>
                </c:pt>
                <c:pt idx="80">
                  <c:v>18</c:v>
                </c:pt>
                <c:pt idx="81">
                  <c:v>13</c:v>
                </c:pt>
                <c:pt idx="82">
                  <c:v>15</c:v>
                </c:pt>
                <c:pt idx="83">
                  <c:v>14</c:v>
                </c:pt>
                <c:pt idx="84">
                  <c:v>16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3</c:v>
                </c:pt>
                <c:pt idx="89">
                  <c:v>12</c:v>
                </c:pt>
                <c:pt idx="90">
                  <c:v>10</c:v>
                </c:pt>
                <c:pt idx="91">
                  <c:v>13</c:v>
                </c:pt>
                <c:pt idx="92">
                  <c:v>10</c:v>
                </c:pt>
                <c:pt idx="93">
                  <c:v>10</c:v>
                </c:pt>
                <c:pt idx="94">
                  <c:v>8</c:v>
                </c:pt>
                <c:pt idx="95">
                  <c:v>10</c:v>
                </c:pt>
                <c:pt idx="96">
                  <c:v>12</c:v>
                </c:pt>
                <c:pt idx="97">
                  <c:v>16</c:v>
                </c:pt>
                <c:pt idx="98">
                  <c:v>17</c:v>
                </c:pt>
                <c:pt idx="99">
                  <c:v>21</c:v>
                </c:pt>
                <c:pt idx="100">
                  <c:v>24</c:v>
                </c:pt>
                <c:pt idx="101">
                  <c:v>23</c:v>
                </c:pt>
                <c:pt idx="102">
                  <c:v>24</c:v>
                </c:pt>
                <c:pt idx="103">
                  <c:v>28</c:v>
                </c:pt>
                <c:pt idx="104">
                  <c:v>32</c:v>
                </c:pt>
                <c:pt idx="105">
                  <c:v>34</c:v>
                </c:pt>
                <c:pt idx="106">
                  <c:v>31</c:v>
                </c:pt>
                <c:pt idx="107">
                  <c:v>31</c:v>
                </c:pt>
                <c:pt idx="108">
                  <c:v>33</c:v>
                </c:pt>
                <c:pt idx="109">
                  <c:v>30</c:v>
                </c:pt>
                <c:pt idx="110">
                  <c:v>30</c:v>
                </c:pt>
                <c:pt idx="111">
                  <c:v>29</c:v>
                </c:pt>
                <c:pt idx="112">
                  <c:v>29</c:v>
                </c:pt>
                <c:pt idx="113">
                  <c:v>25</c:v>
                </c:pt>
                <c:pt idx="114">
                  <c:v>26</c:v>
                </c:pt>
                <c:pt idx="115">
                  <c:v>28</c:v>
                </c:pt>
                <c:pt idx="116">
                  <c:v>27</c:v>
                </c:pt>
                <c:pt idx="117">
                  <c:v>29</c:v>
                </c:pt>
                <c:pt idx="118">
                  <c:v>35</c:v>
                </c:pt>
                <c:pt idx="119">
                  <c:v>37</c:v>
                </c:pt>
                <c:pt idx="120">
                  <c:v>46</c:v>
                </c:pt>
                <c:pt idx="121">
                  <c:v>46</c:v>
                </c:pt>
                <c:pt idx="122">
                  <c:v>48</c:v>
                </c:pt>
                <c:pt idx="123">
                  <c:v>52</c:v>
                </c:pt>
                <c:pt idx="124">
                  <c:v>52</c:v>
                </c:pt>
                <c:pt idx="125">
                  <c:v>60</c:v>
                </c:pt>
                <c:pt idx="126">
                  <c:v>65</c:v>
                </c:pt>
                <c:pt idx="127">
                  <c:v>71</c:v>
                </c:pt>
                <c:pt idx="128">
                  <c:v>69</c:v>
                </c:pt>
                <c:pt idx="129">
                  <c:v>72</c:v>
                </c:pt>
                <c:pt idx="130">
                  <c:v>69</c:v>
                </c:pt>
                <c:pt idx="131">
                  <c:v>73</c:v>
                </c:pt>
                <c:pt idx="132">
                  <c:v>74</c:v>
                </c:pt>
                <c:pt idx="133">
                  <c:v>78</c:v>
                </c:pt>
                <c:pt idx="134">
                  <c:v>77</c:v>
                </c:pt>
                <c:pt idx="135">
                  <c:v>82</c:v>
                </c:pt>
                <c:pt idx="136">
                  <c:v>70</c:v>
                </c:pt>
                <c:pt idx="137">
                  <c:v>71</c:v>
                </c:pt>
                <c:pt idx="138">
                  <c:v>68</c:v>
                </c:pt>
                <c:pt idx="139">
                  <c:v>83</c:v>
                </c:pt>
                <c:pt idx="140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3</c:v>
                </c:pt>
                <c:pt idx="49">
                  <c:v>15</c:v>
                </c:pt>
                <c:pt idx="50">
                  <c:v>16</c:v>
                </c:pt>
                <c:pt idx="51">
                  <c:v>17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0</c:v>
                </c:pt>
                <c:pt idx="56">
                  <c:v>21</c:v>
                </c:pt>
                <c:pt idx="57">
                  <c:v>22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7</c:v>
                </c:pt>
                <c:pt idx="62">
                  <c:v>28</c:v>
                </c:pt>
                <c:pt idx="63">
                  <c:v>28</c:v>
                </c:pt>
                <c:pt idx="64">
                  <c:v>30</c:v>
                </c:pt>
                <c:pt idx="65">
                  <c:v>31</c:v>
                </c:pt>
                <c:pt idx="66">
                  <c:v>31</c:v>
                </c:pt>
                <c:pt idx="67">
                  <c:v>31</c:v>
                </c:pt>
                <c:pt idx="68">
                  <c:v>32</c:v>
                </c:pt>
                <c:pt idx="69">
                  <c:v>33</c:v>
                </c:pt>
                <c:pt idx="70">
                  <c:v>34</c:v>
                </c:pt>
                <c:pt idx="71">
                  <c:v>34</c:v>
                </c:pt>
                <c:pt idx="72">
                  <c:v>34</c:v>
                </c:pt>
                <c:pt idx="73">
                  <c:v>34</c:v>
                </c:pt>
                <c:pt idx="74">
                  <c:v>36</c:v>
                </c:pt>
                <c:pt idx="75">
                  <c:v>36</c:v>
                </c:pt>
                <c:pt idx="76">
                  <c:v>38</c:v>
                </c:pt>
                <c:pt idx="77">
                  <c:v>38</c:v>
                </c:pt>
                <c:pt idx="78">
                  <c:v>38</c:v>
                </c:pt>
                <c:pt idx="79">
                  <c:v>38</c:v>
                </c:pt>
                <c:pt idx="80">
                  <c:v>39</c:v>
                </c:pt>
                <c:pt idx="81">
                  <c:v>39</c:v>
                </c:pt>
                <c:pt idx="82">
                  <c:v>39</c:v>
                </c:pt>
                <c:pt idx="83">
                  <c:v>40</c:v>
                </c:pt>
                <c:pt idx="84">
                  <c:v>41</c:v>
                </c:pt>
                <c:pt idx="85">
                  <c:v>42</c:v>
                </c:pt>
                <c:pt idx="86">
                  <c:v>43</c:v>
                </c:pt>
                <c:pt idx="87">
                  <c:v>43</c:v>
                </c:pt>
                <c:pt idx="88">
                  <c:v>43</c:v>
                </c:pt>
                <c:pt idx="89">
                  <c:v>44</c:v>
                </c:pt>
                <c:pt idx="90">
                  <c:v>44</c:v>
                </c:pt>
                <c:pt idx="91">
                  <c:v>44</c:v>
                </c:pt>
                <c:pt idx="92">
                  <c:v>45</c:v>
                </c:pt>
                <c:pt idx="93">
                  <c:v>45</c:v>
                </c:pt>
                <c:pt idx="94">
                  <c:v>46</c:v>
                </c:pt>
                <c:pt idx="95">
                  <c:v>46</c:v>
                </c:pt>
                <c:pt idx="96">
                  <c:v>46</c:v>
                </c:pt>
                <c:pt idx="97">
                  <c:v>46</c:v>
                </c:pt>
                <c:pt idx="98">
                  <c:v>46</c:v>
                </c:pt>
                <c:pt idx="99">
                  <c:v>46</c:v>
                </c:pt>
                <c:pt idx="100">
                  <c:v>47</c:v>
                </c:pt>
                <c:pt idx="101">
                  <c:v>47</c:v>
                </c:pt>
                <c:pt idx="102">
                  <c:v>47</c:v>
                </c:pt>
                <c:pt idx="103">
                  <c:v>47</c:v>
                </c:pt>
                <c:pt idx="104">
                  <c:v>47</c:v>
                </c:pt>
                <c:pt idx="105">
                  <c:v>49</c:v>
                </c:pt>
                <c:pt idx="106">
                  <c:v>51</c:v>
                </c:pt>
                <c:pt idx="107">
                  <c:v>51</c:v>
                </c:pt>
                <c:pt idx="108">
                  <c:v>52</c:v>
                </c:pt>
                <c:pt idx="109">
                  <c:v>52</c:v>
                </c:pt>
                <c:pt idx="110">
                  <c:v>52</c:v>
                </c:pt>
                <c:pt idx="111">
                  <c:v>52</c:v>
                </c:pt>
                <c:pt idx="112">
                  <c:v>55</c:v>
                </c:pt>
                <c:pt idx="113">
                  <c:v>56</c:v>
                </c:pt>
                <c:pt idx="114">
                  <c:v>56</c:v>
                </c:pt>
                <c:pt idx="115">
                  <c:v>58</c:v>
                </c:pt>
                <c:pt idx="116">
                  <c:v>59</c:v>
                </c:pt>
                <c:pt idx="117">
                  <c:v>60</c:v>
                </c:pt>
                <c:pt idx="118">
                  <c:v>66</c:v>
                </c:pt>
                <c:pt idx="119">
                  <c:v>66</c:v>
                </c:pt>
                <c:pt idx="120">
                  <c:v>69</c:v>
                </c:pt>
                <c:pt idx="121">
                  <c:v>69</c:v>
                </c:pt>
                <c:pt idx="122">
                  <c:v>74</c:v>
                </c:pt>
                <c:pt idx="123">
                  <c:v>74</c:v>
                </c:pt>
                <c:pt idx="124">
                  <c:v>74</c:v>
                </c:pt>
                <c:pt idx="125">
                  <c:v>77</c:v>
                </c:pt>
                <c:pt idx="126">
                  <c:v>78</c:v>
                </c:pt>
                <c:pt idx="127">
                  <c:v>78</c:v>
                </c:pt>
                <c:pt idx="128">
                  <c:v>79</c:v>
                </c:pt>
                <c:pt idx="129">
                  <c:v>79</c:v>
                </c:pt>
                <c:pt idx="130">
                  <c:v>82</c:v>
                </c:pt>
                <c:pt idx="131">
                  <c:v>85</c:v>
                </c:pt>
                <c:pt idx="132">
                  <c:v>86</c:v>
                </c:pt>
                <c:pt idx="133">
                  <c:v>89</c:v>
                </c:pt>
                <c:pt idx="134">
                  <c:v>92</c:v>
                </c:pt>
                <c:pt idx="135">
                  <c:v>97</c:v>
                </c:pt>
                <c:pt idx="136">
                  <c:v>100</c:v>
                </c:pt>
                <c:pt idx="137">
                  <c:v>101</c:v>
                </c:pt>
                <c:pt idx="138">
                  <c:v>105</c:v>
                </c:pt>
                <c:pt idx="139">
                  <c:v>108</c:v>
                </c:pt>
                <c:pt idx="140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3</c:v>
                </c:pt>
                <c:pt idx="53">
                  <c:v>3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6</c:v>
                </c:pt>
                <c:pt idx="68">
                  <c:v>6</c:v>
                </c:pt>
                <c:pt idx="69">
                  <c:v>6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10</c:v>
                </c:pt>
                <c:pt idx="86">
                  <c:v>10</c:v>
                </c:pt>
                <c:pt idx="87">
                  <c:v>10</c:v>
                </c:pt>
                <c:pt idx="88">
                  <c:v>10</c:v>
                </c:pt>
                <c:pt idx="89">
                  <c:v>10</c:v>
                </c:pt>
                <c:pt idx="90">
                  <c:v>10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3</c:v>
                </c:pt>
                <c:pt idx="97">
                  <c:v>13</c:v>
                </c:pt>
                <c:pt idx="98">
                  <c:v>13</c:v>
                </c:pt>
                <c:pt idx="99">
                  <c:v>14</c:v>
                </c:pt>
                <c:pt idx="100">
                  <c:v>14</c:v>
                </c:pt>
                <c:pt idx="101">
                  <c:v>14</c:v>
                </c:pt>
                <c:pt idx="102">
                  <c:v>15</c:v>
                </c:pt>
                <c:pt idx="103">
                  <c:v>17</c:v>
                </c:pt>
                <c:pt idx="104">
                  <c:v>19</c:v>
                </c:pt>
                <c:pt idx="105">
                  <c:v>21</c:v>
                </c:pt>
                <c:pt idx="106">
                  <c:v>21</c:v>
                </c:pt>
                <c:pt idx="107">
                  <c:v>22</c:v>
                </c:pt>
                <c:pt idx="108">
                  <c:v>23</c:v>
                </c:pt>
                <c:pt idx="109">
                  <c:v>24</c:v>
                </c:pt>
                <c:pt idx="110">
                  <c:v>25</c:v>
                </c:pt>
                <c:pt idx="111">
                  <c:v>25</c:v>
                </c:pt>
                <c:pt idx="112">
                  <c:v>25</c:v>
                </c:pt>
                <c:pt idx="113">
                  <c:v>25</c:v>
                </c:pt>
                <c:pt idx="114">
                  <c:v>28</c:v>
                </c:pt>
                <c:pt idx="115">
                  <c:v>28</c:v>
                </c:pt>
                <c:pt idx="116">
                  <c:v>28</c:v>
                </c:pt>
                <c:pt idx="117">
                  <c:v>28</c:v>
                </c:pt>
                <c:pt idx="118">
                  <c:v>29</c:v>
                </c:pt>
                <c:pt idx="119">
                  <c:v>30</c:v>
                </c:pt>
                <c:pt idx="120">
                  <c:v>30</c:v>
                </c:pt>
                <c:pt idx="121">
                  <c:v>31</c:v>
                </c:pt>
                <c:pt idx="122">
                  <c:v>31</c:v>
                </c:pt>
                <c:pt idx="123">
                  <c:v>32</c:v>
                </c:pt>
                <c:pt idx="124">
                  <c:v>32</c:v>
                </c:pt>
                <c:pt idx="125">
                  <c:v>32</c:v>
                </c:pt>
                <c:pt idx="126">
                  <c:v>32</c:v>
                </c:pt>
                <c:pt idx="127">
                  <c:v>33</c:v>
                </c:pt>
                <c:pt idx="128">
                  <c:v>33</c:v>
                </c:pt>
                <c:pt idx="129">
                  <c:v>33</c:v>
                </c:pt>
                <c:pt idx="130">
                  <c:v>33</c:v>
                </c:pt>
                <c:pt idx="131">
                  <c:v>33</c:v>
                </c:pt>
                <c:pt idx="132">
                  <c:v>33</c:v>
                </c:pt>
                <c:pt idx="133">
                  <c:v>35</c:v>
                </c:pt>
                <c:pt idx="134">
                  <c:v>37</c:v>
                </c:pt>
                <c:pt idx="135">
                  <c:v>39</c:v>
                </c:pt>
                <c:pt idx="136">
                  <c:v>41</c:v>
                </c:pt>
                <c:pt idx="137">
                  <c:v>42</c:v>
                </c:pt>
                <c:pt idx="138">
                  <c:v>42</c:v>
                </c:pt>
                <c:pt idx="139">
                  <c:v>42</c:v>
                </c:pt>
                <c:pt idx="140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19</c:v>
                </c:pt>
                <c:pt idx="11">
                  <c:v>20</c:v>
                </c:pt>
                <c:pt idx="12">
                  <c:v>20</c:v>
                </c:pt>
                <c:pt idx="13">
                  <c:v>22</c:v>
                </c:pt>
                <c:pt idx="14">
                  <c:v>22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  <c:pt idx="26">
                  <c:v>26</c:v>
                </c:pt>
                <c:pt idx="27">
                  <c:v>26</c:v>
                </c:pt>
                <c:pt idx="28">
                  <c:v>26</c:v>
                </c:pt>
                <c:pt idx="29">
                  <c:v>26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6</c:v>
                </c:pt>
                <c:pt idx="35">
                  <c:v>26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6</c:v>
                </c:pt>
                <c:pt idx="47">
                  <c:v>26</c:v>
                </c:pt>
                <c:pt idx="48">
                  <c:v>27</c:v>
                </c:pt>
                <c:pt idx="49">
                  <c:v>27</c:v>
                </c:pt>
                <c:pt idx="50">
                  <c:v>27</c:v>
                </c:pt>
                <c:pt idx="51">
                  <c:v>27</c:v>
                </c:pt>
                <c:pt idx="52">
                  <c:v>27</c:v>
                </c:pt>
                <c:pt idx="53">
                  <c:v>27</c:v>
                </c:pt>
                <c:pt idx="54">
                  <c:v>27</c:v>
                </c:pt>
                <c:pt idx="55">
                  <c:v>27</c:v>
                </c:pt>
                <c:pt idx="56">
                  <c:v>27</c:v>
                </c:pt>
                <c:pt idx="57">
                  <c:v>27</c:v>
                </c:pt>
                <c:pt idx="58">
                  <c:v>32</c:v>
                </c:pt>
                <c:pt idx="59">
                  <c:v>32</c:v>
                </c:pt>
                <c:pt idx="60">
                  <c:v>32</c:v>
                </c:pt>
                <c:pt idx="61">
                  <c:v>32</c:v>
                </c:pt>
                <c:pt idx="62">
                  <c:v>33</c:v>
                </c:pt>
                <c:pt idx="63">
                  <c:v>33</c:v>
                </c:pt>
                <c:pt idx="64">
                  <c:v>33</c:v>
                </c:pt>
                <c:pt idx="65">
                  <c:v>33</c:v>
                </c:pt>
                <c:pt idx="66">
                  <c:v>33</c:v>
                </c:pt>
                <c:pt idx="67">
                  <c:v>33</c:v>
                </c:pt>
                <c:pt idx="68">
                  <c:v>33</c:v>
                </c:pt>
                <c:pt idx="69">
                  <c:v>35</c:v>
                </c:pt>
                <c:pt idx="70">
                  <c:v>36</c:v>
                </c:pt>
                <c:pt idx="71">
                  <c:v>36</c:v>
                </c:pt>
                <c:pt idx="72">
                  <c:v>38</c:v>
                </c:pt>
                <c:pt idx="73">
                  <c:v>38</c:v>
                </c:pt>
                <c:pt idx="74">
                  <c:v>38</c:v>
                </c:pt>
                <c:pt idx="75">
                  <c:v>38</c:v>
                </c:pt>
                <c:pt idx="76">
                  <c:v>41</c:v>
                </c:pt>
                <c:pt idx="77">
                  <c:v>41</c:v>
                </c:pt>
                <c:pt idx="78">
                  <c:v>42</c:v>
                </c:pt>
                <c:pt idx="79">
                  <c:v>43</c:v>
                </c:pt>
                <c:pt idx="80">
                  <c:v>43</c:v>
                </c:pt>
                <c:pt idx="81">
                  <c:v>43</c:v>
                </c:pt>
                <c:pt idx="82">
                  <c:v>43</c:v>
                </c:pt>
                <c:pt idx="83">
                  <c:v>43</c:v>
                </c:pt>
                <c:pt idx="84">
                  <c:v>43</c:v>
                </c:pt>
                <c:pt idx="85">
                  <c:v>47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50</c:v>
                </c:pt>
                <c:pt idx="91">
                  <c:v>51</c:v>
                </c:pt>
                <c:pt idx="92">
                  <c:v>52</c:v>
                </c:pt>
                <c:pt idx="93">
                  <c:v>53</c:v>
                </c:pt>
                <c:pt idx="94">
                  <c:v>53</c:v>
                </c:pt>
                <c:pt idx="95">
                  <c:v>53</c:v>
                </c:pt>
                <c:pt idx="96">
                  <c:v>53</c:v>
                </c:pt>
                <c:pt idx="97">
                  <c:v>58</c:v>
                </c:pt>
                <c:pt idx="98">
                  <c:v>59</c:v>
                </c:pt>
                <c:pt idx="99">
                  <c:v>59</c:v>
                </c:pt>
                <c:pt idx="100">
                  <c:v>59</c:v>
                </c:pt>
                <c:pt idx="101">
                  <c:v>61</c:v>
                </c:pt>
                <c:pt idx="102">
                  <c:v>61</c:v>
                </c:pt>
                <c:pt idx="103">
                  <c:v>61</c:v>
                </c:pt>
                <c:pt idx="104">
                  <c:v>66</c:v>
                </c:pt>
                <c:pt idx="105">
                  <c:v>67</c:v>
                </c:pt>
                <c:pt idx="106">
                  <c:v>67</c:v>
                </c:pt>
                <c:pt idx="107">
                  <c:v>69</c:v>
                </c:pt>
                <c:pt idx="108">
                  <c:v>69</c:v>
                </c:pt>
                <c:pt idx="109">
                  <c:v>69</c:v>
                </c:pt>
                <c:pt idx="110">
                  <c:v>69</c:v>
                </c:pt>
                <c:pt idx="111">
                  <c:v>73</c:v>
                </c:pt>
                <c:pt idx="112">
                  <c:v>73</c:v>
                </c:pt>
                <c:pt idx="113">
                  <c:v>75</c:v>
                </c:pt>
                <c:pt idx="114">
                  <c:v>77</c:v>
                </c:pt>
                <c:pt idx="115">
                  <c:v>78</c:v>
                </c:pt>
                <c:pt idx="116">
                  <c:v>78</c:v>
                </c:pt>
                <c:pt idx="117">
                  <c:v>78</c:v>
                </c:pt>
                <c:pt idx="118">
                  <c:v>79</c:v>
                </c:pt>
                <c:pt idx="119">
                  <c:v>79</c:v>
                </c:pt>
                <c:pt idx="120">
                  <c:v>80</c:v>
                </c:pt>
                <c:pt idx="121">
                  <c:v>84</c:v>
                </c:pt>
                <c:pt idx="122">
                  <c:v>85</c:v>
                </c:pt>
                <c:pt idx="123">
                  <c:v>85</c:v>
                </c:pt>
                <c:pt idx="124">
                  <c:v>85</c:v>
                </c:pt>
                <c:pt idx="125">
                  <c:v>94</c:v>
                </c:pt>
                <c:pt idx="126">
                  <c:v>94</c:v>
                </c:pt>
                <c:pt idx="127">
                  <c:v>98</c:v>
                </c:pt>
                <c:pt idx="128">
                  <c:v>98</c:v>
                </c:pt>
                <c:pt idx="129">
                  <c:v>98</c:v>
                </c:pt>
                <c:pt idx="130">
                  <c:v>98</c:v>
                </c:pt>
                <c:pt idx="131">
                  <c:v>98</c:v>
                </c:pt>
                <c:pt idx="132">
                  <c:v>106</c:v>
                </c:pt>
                <c:pt idx="133">
                  <c:v>109</c:v>
                </c:pt>
                <c:pt idx="134">
                  <c:v>110</c:v>
                </c:pt>
                <c:pt idx="135">
                  <c:v>115</c:v>
                </c:pt>
                <c:pt idx="136">
                  <c:v>119</c:v>
                </c:pt>
                <c:pt idx="137">
                  <c:v>119</c:v>
                </c:pt>
                <c:pt idx="138">
                  <c:v>119</c:v>
                </c:pt>
                <c:pt idx="139">
                  <c:v>121</c:v>
                </c:pt>
                <c:pt idx="140">
                  <c:v>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4</c:v>
                </c:pt>
                <c:pt idx="13">
                  <c:v>14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6</c:v>
                </c:pt>
                <c:pt idx="37">
                  <c:v>16</c:v>
                </c:pt>
                <c:pt idx="38">
                  <c:v>16</c:v>
                </c:pt>
                <c:pt idx="39">
                  <c:v>16</c:v>
                </c:pt>
                <c:pt idx="40">
                  <c:v>16</c:v>
                </c:pt>
                <c:pt idx="41">
                  <c:v>16</c:v>
                </c:pt>
                <c:pt idx="42">
                  <c:v>16</c:v>
                </c:pt>
                <c:pt idx="43">
                  <c:v>16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6</c:v>
                </c:pt>
                <c:pt idx="48">
                  <c:v>16</c:v>
                </c:pt>
                <c:pt idx="49">
                  <c:v>16</c:v>
                </c:pt>
                <c:pt idx="50">
                  <c:v>16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</c:v>
                </c:pt>
                <c:pt idx="56">
                  <c:v>16</c:v>
                </c:pt>
                <c:pt idx="57">
                  <c:v>16</c:v>
                </c:pt>
                <c:pt idx="58">
                  <c:v>17</c:v>
                </c:pt>
                <c:pt idx="59">
                  <c:v>17</c:v>
                </c:pt>
                <c:pt idx="60">
                  <c:v>17</c:v>
                </c:pt>
                <c:pt idx="61">
                  <c:v>17</c:v>
                </c:pt>
                <c:pt idx="62">
                  <c:v>17</c:v>
                </c:pt>
                <c:pt idx="63">
                  <c:v>17</c:v>
                </c:pt>
                <c:pt idx="64">
                  <c:v>18</c:v>
                </c:pt>
                <c:pt idx="65">
                  <c:v>18</c:v>
                </c:pt>
                <c:pt idx="66">
                  <c:v>18</c:v>
                </c:pt>
                <c:pt idx="67">
                  <c:v>18</c:v>
                </c:pt>
                <c:pt idx="68">
                  <c:v>18</c:v>
                </c:pt>
                <c:pt idx="69">
                  <c:v>18</c:v>
                </c:pt>
                <c:pt idx="70">
                  <c:v>18</c:v>
                </c:pt>
                <c:pt idx="71">
                  <c:v>18</c:v>
                </c:pt>
                <c:pt idx="72">
                  <c:v>18</c:v>
                </c:pt>
                <c:pt idx="73">
                  <c:v>18</c:v>
                </c:pt>
                <c:pt idx="74">
                  <c:v>20</c:v>
                </c:pt>
                <c:pt idx="75">
                  <c:v>20</c:v>
                </c:pt>
                <c:pt idx="76">
                  <c:v>20</c:v>
                </c:pt>
                <c:pt idx="77">
                  <c:v>20</c:v>
                </c:pt>
                <c:pt idx="78">
                  <c:v>20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21</c:v>
                </c:pt>
                <c:pt idx="84">
                  <c:v>21</c:v>
                </c:pt>
                <c:pt idx="85">
                  <c:v>21</c:v>
                </c:pt>
                <c:pt idx="86">
                  <c:v>21</c:v>
                </c:pt>
                <c:pt idx="87">
                  <c:v>21</c:v>
                </c:pt>
                <c:pt idx="88">
                  <c:v>21</c:v>
                </c:pt>
                <c:pt idx="89">
                  <c:v>21</c:v>
                </c:pt>
                <c:pt idx="90">
                  <c:v>21</c:v>
                </c:pt>
                <c:pt idx="91">
                  <c:v>21</c:v>
                </c:pt>
                <c:pt idx="92">
                  <c:v>22</c:v>
                </c:pt>
                <c:pt idx="93">
                  <c:v>23</c:v>
                </c:pt>
                <c:pt idx="94">
                  <c:v>24</c:v>
                </c:pt>
                <c:pt idx="95">
                  <c:v>24</c:v>
                </c:pt>
                <c:pt idx="96">
                  <c:v>24</c:v>
                </c:pt>
                <c:pt idx="97">
                  <c:v>25</c:v>
                </c:pt>
                <c:pt idx="98">
                  <c:v>26</c:v>
                </c:pt>
                <c:pt idx="99">
                  <c:v>27</c:v>
                </c:pt>
                <c:pt idx="100">
                  <c:v>27</c:v>
                </c:pt>
                <c:pt idx="101">
                  <c:v>29</c:v>
                </c:pt>
                <c:pt idx="102">
                  <c:v>29</c:v>
                </c:pt>
                <c:pt idx="103">
                  <c:v>30</c:v>
                </c:pt>
                <c:pt idx="104">
                  <c:v>31</c:v>
                </c:pt>
                <c:pt idx="105">
                  <c:v>32</c:v>
                </c:pt>
                <c:pt idx="106">
                  <c:v>33</c:v>
                </c:pt>
                <c:pt idx="107">
                  <c:v>33</c:v>
                </c:pt>
                <c:pt idx="108">
                  <c:v>33</c:v>
                </c:pt>
                <c:pt idx="109">
                  <c:v>33</c:v>
                </c:pt>
                <c:pt idx="110">
                  <c:v>33</c:v>
                </c:pt>
                <c:pt idx="111">
                  <c:v>33</c:v>
                </c:pt>
                <c:pt idx="112">
                  <c:v>33</c:v>
                </c:pt>
                <c:pt idx="113">
                  <c:v>33</c:v>
                </c:pt>
                <c:pt idx="114">
                  <c:v>33</c:v>
                </c:pt>
                <c:pt idx="115">
                  <c:v>33</c:v>
                </c:pt>
                <c:pt idx="116">
                  <c:v>33</c:v>
                </c:pt>
                <c:pt idx="117">
                  <c:v>34</c:v>
                </c:pt>
                <c:pt idx="118">
                  <c:v>35</c:v>
                </c:pt>
                <c:pt idx="119">
                  <c:v>35</c:v>
                </c:pt>
                <c:pt idx="120">
                  <c:v>35</c:v>
                </c:pt>
                <c:pt idx="121">
                  <c:v>35</c:v>
                </c:pt>
                <c:pt idx="122">
                  <c:v>35</c:v>
                </c:pt>
                <c:pt idx="123">
                  <c:v>35</c:v>
                </c:pt>
                <c:pt idx="124">
                  <c:v>37</c:v>
                </c:pt>
                <c:pt idx="125">
                  <c:v>38</c:v>
                </c:pt>
                <c:pt idx="126">
                  <c:v>39</c:v>
                </c:pt>
                <c:pt idx="127">
                  <c:v>41</c:v>
                </c:pt>
                <c:pt idx="128">
                  <c:v>41</c:v>
                </c:pt>
                <c:pt idx="129">
                  <c:v>41</c:v>
                </c:pt>
                <c:pt idx="130">
                  <c:v>42</c:v>
                </c:pt>
                <c:pt idx="131">
                  <c:v>42</c:v>
                </c:pt>
                <c:pt idx="132">
                  <c:v>43</c:v>
                </c:pt>
                <c:pt idx="133">
                  <c:v>43</c:v>
                </c:pt>
                <c:pt idx="134">
                  <c:v>45</c:v>
                </c:pt>
                <c:pt idx="135">
                  <c:v>47</c:v>
                </c:pt>
                <c:pt idx="136">
                  <c:v>47</c:v>
                </c:pt>
                <c:pt idx="137">
                  <c:v>47</c:v>
                </c:pt>
                <c:pt idx="138">
                  <c:v>48</c:v>
                </c:pt>
                <c:pt idx="139">
                  <c:v>48</c:v>
                </c:pt>
                <c:pt idx="14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4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9</c:v>
                </c:pt>
                <c:pt idx="47">
                  <c:v>9</c:v>
                </c:pt>
                <c:pt idx="48">
                  <c:v>9</c:v>
                </c:pt>
                <c:pt idx="49">
                  <c:v>9</c:v>
                </c:pt>
                <c:pt idx="50">
                  <c:v>9</c:v>
                </c:pt>
                <c:pt idx="51">
                  <c:v>9</c:v>
                </c:pt>
                <c:pt idx="52">
                  <c:v>9</c:v>
                </c:pt>
                <c:pt idx="53">
                  <c:v>9</c:v>
                </c:pt>
                <c:pt idx="54">
                  <c:v>9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1</c:v>
                </c:pt>
                <c:pt idx="62">
                  <c:v>11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2</c:v>
                </c:pt>
                <c:pt idx="67">
                  <c:v>12</c:v>
                </c:pt>
                <c:pt idx="68">
                  <c:v>12</c:v>
                </c:pt>
                <c:pt idx="69">
                  <c:v>12</c:v>
                </c:pt>
                <c:pt idx="70">
                  <c:v>12</c:v>
                </c:pt>
                <c:pt idx="71">
                  <c:v>13</c:v>
                </c:pt>
                <c:pt idx="72">
                  <c:v>13</c:v>
                </c:pt>
                <c:pt idx="73">
                  <c:v>13</c:v>
                </c:pt>
                <c:pt idx="74">
                  <c:v>13</c:v>
                </c:pt>
                <c:pt idx="75">
                  <c:v>13</c:v>
                </c:pt>
                <c:pt idx="76">
                  <c:v>13</c:v>
                </c:pt>
                <c:pt idx="77">
                  <c:v>14</c:v>
                </c:pt>
                <c:pt idx="78">
                  <c:v>14</c:v>
                </c:pt>
                <c:pt idx="79">
                  <c:v>14</c:v>
                </c:pt>
                <c:pt idx="80">
                  <c:v>14</c:v>
                </c:pt>
                <c:pt idx="81">
                  <c:v>14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4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5</c:v>
                </c:pt>
                <c:pt idx="98">
                  <c:v>16</c:v>
                </c:pt>
                <c:pt idx="99">
                  <c:v>17</c:v>
                </c:pt>
                <c:pt idx="100">
                  <c:v>17</c:v>
                </c:pt>
                <c:pt idx="101">
                  <c:v>17</c:v>
                </c:pt>
                <c:pt idx="102">
                  <c:v>17</c:v>
                </c:pt>
                <c:pt idx="103">
                  <c:v>17</c:v>
                </c:pt>
                <c:pt idx="104">
                  <c:v>18</c:v>
                </c:pt>
                <c:pt idx="105">
                  <c:v>18</c:v>
                </c:pt>
                <c:pt idx="106">
                  <c:v>18</c:v>
                </c:pt>
                <c:pt idx="107">
                  <c:v>18</c:v>
                </c:pt>
                <c:pt idx="108">
                  <c:v>18</c:v>
                </c:pt>
                <c:pt idx="109">
                  <c:v>18</c:v>
                </c:pt>
                <c:pt idx="110">
                  <c:v>19</c:v>
                </c:pt>
                <c:pt idx="111">
                  <c:v>19</c:v>
                </c:pt>
                <c:pt idx="112">
                  <c:v>20</c:v>
                </c:pt>
                <c:pt idx="113">
                  <c:v>20</c:v>
                </c:pt>
                <c:pt idx="114">
                  <c:v>20</c:v>
                </c:pt>
                <c:pt idx="115">
                  <c:v>21</c:v>
                </c:pt>
                <c:pt idx="116">
                  <c:v>21</c:v>
                </c:pt>
                <c:pt idx="117">
                  <c:v>22</c:v>
                </c:pt>
                <c:pt idx="118">
                  <c:v>23</c:v>
                </c:pt>
                <c:pt idx="119">
                  <c:v>24</c:v>
                </c:pt>
                <c:pt idx="120">
                  <c:v>24</c:v>
                </c:pt>
                <c:pt idx="121">
                  <c:v>24</c:v>
                </c:pt>
                <c:pt idx="122">
                  <c:v>24</c:v>
                </c:pt>
                <c:pt idx="123">
                  <c:v>25</c:v>
                </c:pt>
                <c:pt idx="124">
                  <c:v>25</c:v>
                </c:pt>
                <c:pt idx="125">
                  <c:v>25</c:v>
                </c:pt>
                <c:pt idx="126">
                  <c:v>25</c:v>
                </c:pt>
                <c:pt idx="127">
                  <c:v>26</c:v>
                </c:pt>
                <c:pt idx="128">
                  <c:v>27</c:v>
                </c:pt>
                <c:pt idx="129">
                  <c:v>28</c:v>
                </c:pt>
                <c:pt idx="130">
                  <c:v>30</c:v>
                </c:pt>
                <c:pt idx="131">
                  <c:v>30</c:v>
                </c:pt>
                <c:pt idx="132">
                  <c:v>31</c:v>
                </c:pt>
                <c:pt idx="133">
                  <c:v>31</c:v>
                </c:pt>
                <c:pt idx="134">
                  <c:v>33</c:v>
                </c:pt>
                <c:pt idx="135">
                  <c:v>34</c:v>
                </c:pt>
                <c:pt idx="136">
                  <c:v>34</c:v>
                </c:pt>
                <c:pt idx="137">
                  <c:v>37</c:v>
                </c:pt>
                <c:pt idx="138">
                  <c:v>38</c:v>
                </c:pt>
                <c:pt idx="139">
                  <c:v>39</c:v>
                </c:pt>
                <c:pt idx="140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1</c:v>
                </c:pt>
                <c:pt idx="15">
                  <c:v>11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7</c:v>
                </c:pt>
                <c:pt idx="40">
                  <c:v>18</c:v>
                </c:pt>
                <c:pt idx="41">
                  <c:v>19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1</c:v>
                </c:pt>
                <c:pt idx="55">
                  <c:v>24</c:v>
                </c:pt>
                <c:pt idx="56">
                  <c:v>24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4</c:v>
                </c:pt>
                <c:pt idx="61">
                  <c:v>24</c:v>
                </c:pt>
                <c:pt idx="62">
                  <c:v>24</c:v>
                </c:pt>
                <c:pt idx="63">
                  <c:v>24</c:v>
                </c:pt>
                <c:pt idx="64">
                  <c:v>24</c:v>
                </c:pt>
                <c:pt idx="65">
                  <c:v>24</c:v>
                </c:pt>
                <c:pt idx="66">
                  <c:v>24</c:v>
                </c:pt>
                <c:pt idx="67">
                  <c:v>24</c:v>
                </c:pt>
                <c:pt idx="68">
                  <c:v>24</c:v>
                </c:pt>
                <c:pt idx="69">
                  <c:v>25</c:v>
                </c:pt>
                <c:pt idx="70">
                  <c:v>25</c:v>
                </c:pt>
                <c:pt idx="71">
                  <c:v>26</c:v>
                </c:pt>
                <c:pt idx="72">
                  <c:v>26</c:v>
                </c:pt>
                <c:pt idx="73">
                  <c:v>26</c:v>
                </c:pt>
                <c:pt idx="74">
                  <c:v>26</c:v>
                </c:pt>
                <c:pt idx="75">
                  <c:v>27</c:v>
                </c:pt>
                <c:pt idx="76">
                  <c:v>27</c:v>
                </c:pt>
                <c:pt idx="77">
                  <c:v>28</c:v>
                </c:pt>
                <c:pt idx="78">
                  <c:v>28</c:v>
                </c:pt>
                <c:pt idx="79">
                  <c:v>28</c:v>
                </c:pt>
                <c:pt idx="80">
                  <c:v>28</c:v>
                </c:pt>
                <c:pt idx="81">
                  <c:v>29</c:v>
                </c:pt>
                <c:pt idx="82">
                  <c:v>29</c:v>
                </c:pt>
                <c:pt idx="83">
                  <c:v>29</c:v>
                </c:pt>
                <c:pt idx="84">
                  <c:v>30</c:v>
                </c:pt>
                <c:pt idx="85">
                  <c:v>30</c:v>
                </c:pt>
                <c:pt idx="86">
                  <c:v>30</c:v>
                </c:pt>
                <c:pt idx="87">
                  <c:v>30</c:v>
                </c:pt>
                <c:pt idx="88">
                  <c:v>30</c:v>
                </c:pt>
                <c:pt idx="89">
                  <c:v>30</c:v>
                </c:pt>
                <c:pt idx="90">
                  <c:v>30</c:v>
                </c:pt>
                <c:pt idx="91">
                  <c:v>30</c:v>
                </c:pt>
                <c:pt idx="92">
                  <c:v>31</c:v>
                </c:pt>
                <c:pt idx="93">
                  <c:v>31</c:v>
                </c:pt>
                <c:pt idx="94">
                  <c:v>31</c:v>
                </c:pt>
                <c:pt idx="95">
                  <c:v>31</c:v>
                </c:pt>
                <c:pt idx="96">
                  <c:v>31</c:v>
                </c:pt>
                <c:pt idx="97">
                  <c:v>32</c:v>
                </c:pt>
                <c:pt idx="98">
                  <c:v>32</c:v>
                </c:pt>
                <c:pt idx="99">
                  <c:v>32</c:v>
                </c:pt>
                <c:pt idx="100">
                  <c:v>33</c:v>
                </c:pt>
                <c:pt idx="101">
                  <c:v>35</c:v>
                </c:pt>
                <c:pt idx="102">
                  <c:v>35</c:v>
                </c:pt>
                <c:pt idx="103">
                  <c:v>35</c:v>
                </c:pt>
                <c:pt idx="104">
                  <c:v>37</c:v>
                </c:pt>
                <c:pt idx="105">
                  <c:v>38</c:v>
                </c:pt>
                <c:pt idx="106">
                  <c:v>43</c:v>
                </c:pt>
                <c:pt idx="107">
                  <c:v>44</c:v>
                </c:pt>
                <c:pt idx="108">
                  <c:v>46</c:v>
                </c:pt>
                <c:pt idx="109">
                  <c:v>46</c:v>
                </c:pt>
                <c:pt idx="110">
                  <c:v>46</c:v>
                </c:pt>
                <c:pt idx="111">
                  <c:v>48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2</c:v>
                </c:pt>
                <c:pt idx="122">
                  <c:v>52</c:v>
                </c:pt>
                <c:pt idx="123">
                  <c:v>53</c:v>
                </c:pt>
                <c:pt idx="124">
                  <c:v>54</c:v>
                </c:pt>
                <c:pt idx="125">
                  <c:v>56</c:v>
                </c:pt>
                <c:pt idx="126">
                  <c:v>58</c:v>
                </c:pt>
                <c:pt idx="127">
                  <c:v>59</c:v>
                </c:pt>
                <c:pt idx="128">
                  <c:v>60</c:v>
                </c:pt>
                <c:pt idx="129">
                  <c:v>64</c:v>
                </c:pt>
                <c:pt idx="130">
                  <c:v>65</c:v>
                </c:pt>
                <c:pt idx="131">
                  <c:v>65</c:v>
                </c:pt>
                <c:pt idx="132">
                  <c:v>66</c:v>
                </c:pt>
                <c:pt idx="133">
                  <c:v>69</c:v>
                </c:pt>
                <c:pt idx="134">
                  <c:v>71</c:v>
                </c:pt>
                <c:pt idx="135">
                  <c:v>72</c:v>
                </c:pt>
                <c:pt idx="136">
                  <c:v>73</c:v>
                </c:pt>
                <c:pt idx="137">
                  <c:v>74</c:v>
                </c:pt>
                <c:pt idx="138">
                  <c:v>75</c:v>
                </c:pt>
                <c:pt idx="139">
                  <c:v>75</c:v>
                </c:pt>
                <c:pt idx="140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4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7</c:v>
                </c:pt>
                <c:pt idx="13">
                  <c:v>19</c:v>
                </c:pt>
                <c:pt idx="14">
                  <c:v>19</c:v>
                </c:pt>
                <c:pt idx="15">
                  <c:v>20</c:v>
                </c:pt>
                <c:pt idx="16">
                  <c:v>20</c:v>
                </c:pt>
                <c:pt idx="17">
                  <c:v>21</c:v>
                </c:pt>
                <c:pt idx="18">
                  <c:v>21</c:v>
                </c:pt>
                <c:pt idx="19">
                  <c:v>22</c:v>
                </c:pt>
                <c:pt idx="20">
                  <c:v>22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  <c:pt idx="25">
                  <c:v>23</c:v>
                </c:pt>
                <c:pt idx="26">
                  <c:v>23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4</c:v>
                </c:pt>
                <c:pt idx="31">
                  <c:v>25</c:v>
                </c:pt>
                <c:pt idx="32">
                  <c:v>25</c:v>
                </c:pt>
                <c:pt idx="33">
                  <c:v>25</c:v>
                </c:pt>
                <c:pt idx="34">
                  <c:v>25</c:v>
                </c:pt>
                <c:pt idx="35">
                  <c:v>25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7</c:v>
                </c:pt>
                <c:pt idx="47">
                  <c:v>27</c:v>
                </c:pt>
                <c:pt idx="48">
                  <c:v>27</c:v>
                </c:pt>
                <c:pt idx="49">
                  <c:v>28</c:v>
                </c:pt>
                <c:pt idx="50">
                  <c:v>28</c:v>
                </c:pt>
                <c:pt idx="51">
                  <c:v>29</c:v>
                </c:pt>
                <c:pt idx="52">
                  <c:v>29</c:v>
                </c:pt>
                <c:pt idx="53">
                  <c:v>29</c:v>
                </c:pt>
                <c:pt idx="54">
                  <c:v>30</c:v>
                </c:pt>
                <c:pt idx="55">
                  <c:v>30</c:v>
                </c:pt>
                <c:pt idx="56">
                  <c:v>30</c:v>
                </c:pt>
                <c:pt idx="57">
                  <c:v>30</c:v>
                </c:pt>
                <c:pt idx="58">
                  <c:v>31</c:v>
                </c:pt>
                <c:pt idx="59">
                  <c:v>33</c:v>
                </c:pt>
                <c:pt idx="60">
                  <c:v>34</c:v>
                </c:pt>
                <c:pt idx="61">
                  <c:v>34</c:v>
                </c:pt>
                <c:pt idx="62">
                  <c:v>35</c:v>
                </c:pt>
                <c:pt idx="63">
                  <c:v>35</c:v>
                </c:pt>
                <c:pt idx="64">
                  <c:v>35</c:v>
                </c:pt>
                <c:pt idx="65">
                  <c:v>35</c:v>
                </c:pt>
                <c:pt idx="66">
                  <c:v>36</c:v>
                </c:pt>
                <c:pt idx="67">
                  <c:v>36</c:v>
                </c:pt>
                <c:pt idx="68">
                  <c:v>36</c:v>
                </c:pt>
                <c:pt idx="69">
                  <c:v>36</c:v>
                </c:pt>
                <c:pt idx="70">
                  <c:v>37</c:v>
                </c:pt>
                <c:pt idx="71">
                  <c:v>38</c:v>
                </c:pt>
                <c:pt idx="72">
                  <c:v>38</c:v>
                </c:pt>
                <c:pt idx="73">
                  <c:v>40</c:v>
                </c:pt>
                <c:pt idx="74">
                  <c:v>41</c:v>
                </c:pt>
                <c:pt idx="75">
                  <c:v>42</c:v>
                </c:pt>
                <c:pt idx="76">
                  <c:v>42</c:v>
                </c:pt>
                <c:pt idx="77">
                  <c:v>42</c:v>
                </c:pt>
                <c:pt idx="78">
                  <c:v>43</c:v>
                </c:pt>
                <c:pt idx="79">
                  <c:v>44</c:v>
                </c:pt>
                <c:pt idx="80">
                  <c:v>45</c:v>
                </c:pt>
                <c:pt idx="81">
                  <c:v>45</c:v>
                </c:pt>
                <c:pt idx="82">
                  <c:v>46</c:v>
                </c:pt>
                <c:pt idx="83">
                  <c:v>48</c:v>
                </c:pt>
                <c:pt idx="84">
                  <c:v>49</c:v>
                </c:pt>
                <c:pt idx="85">
                  <c:v>49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49</c:v>
                </c:pt>
                <c:pt idx="91">
                  <c:v>49</c:v>
                </c:pt>
                <c:pt idx="92">
                  <c:v>49</c:v>
                </c:pt>
                <c:pt idx="93">
                  <c:v>51</c:v>
                </c:pt>
                <c:pt idx="94">
                  <c:v>51</c:v>
                </c:pt>
                <c:pt idx="95">
                  <c:v>51</c:v>
                </c:pt>
                <c:pt idx="96">
                  <c:v>51</c:v>
                </c:pt>
                <c:pt idx="97">
                  <c:v>52</c:v>
                </c:pt>
                <c:pt idx="98">
                  <c:v>55</c:v>
                </c:pt>
                <c:pt idx="99">
                  <c:v>56</c:v>
                </c:pt>
                <c:pt idx="100">
                  <c:v>57</c:v>
                </c:pt>
                <c:pt idx="101">
                  <c:v>58</c:v>
                </c:pt>
                <c:pt idx="102">
                  <c:v>58</c:v>
                </c:pt>
                <c:pt idx="103">
                  <c:v>59</c:v>
                </c:pt>
                <c:pt idx="104">
                  <c:v>61</c:v>
                </c:pt>
                <c:pt idx="105">
                  <c:v>62</c:v>
                </c:pt>
                <c:pt idx="106">
                  <c:v>62</c:v>
                </c:pt>
                <c:pt idx="107">
                  <c:v>62</c:v>
                </c:pt>
                <c:pt idx="108">
                  <c:v>75</c:v>
                </c:pt>
                <c:pt idx="109">
                  <c:v>77</c:v>
                </c:pt>
                <c:pt idx="110">
                  <c:v>77</c:v>
                </c:pt>
                <c:pt idx="111">
                  <c:v>77</c:v>
                </c:pt>
                <c:pt idx="112">
                  <c:v>77</c:v>
                </c:pt>
                <c:pt idx="113">
                  <c:v>78</c:v>
                </c:pt>
                <c:pt idx="114">
                  <c:v>80</c:v>
                </c:pt>
                <c:pt idx="115">
                  <c:v>80</c:v>
                </c:pt>
                <c:pt idx="116">
                  <c:v>82</c:v>
                </c:pt>
                <c:pt idx="117">
                  <c:v>85</c:v>
                </c:pt>
                <c:pt idx="118">
                  <c:v>85</c:v>
                </c:pt>
                <c:pt idx="119">
                  <c:v>85</c:v>
                </c:pt>
                <c:pt idx="120">
                  <c:v>85</c:v>
                </c:pt>
                <c:pt idx="121">
                  <c:v>88</c:v>
                </c:pt>
                <c:pt idx="122">
                  <c:v>88</c:v>
                </c:pt>
                <c:pt idx="123">
                  <c:v>88</c:v>
                </c:pt>
                <c:pt idx="124">
                  <c:v>88</c:v>
                </c:pt>
                <c:pt idx="125">
                  <c:v>89</c:v>
                </c:pt>
                <c:pt idx="126">
                  <c:v>90</c:v>
                </c:pt>
                <c:pt idx="127">
                  <c:v>90</c:v>
                </c:pt>
                <c:pt idx="128">
                  <c:v>92</c:v>
                </c:pt>
                <c:pt idx="129">
                  <c:v>93</c:v>
                </c:pt>
                <c:pt idx="130">
                  <c:v>94</c:v>
                </c:pt>
                <c:pt idx="131">
                  <c:v>94</c:v>
                </c:pt>
                <c:pt idx="132">
                  <c:v>97</c:v>
                </c:pt>
                <c:pt idx="133">
                  <c:v>101</c:v>
                </c:pt>
                <c:pt idx="134">
                  <c:v>102</c:v>
                </c:pt>
                <c:pt idx="135">
                  <c:v>104</c:v>
                </c:pt>
                <c:pt idx="136">
                  <c:v>106</c:v>
                </c:pt>
                <c:pt idx="137">
                  <c:v>108</c:v>
                </c:pt>
                <c:pt idx="138">
                  <c:v>108</c:v>
                </c:pt>
                <c:pt idx="139">
                  <c:v>109</c:v>
                </c:pt>
                <c:pt idx="140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3</c:v>
                </c:pt>
                <c:pt idx="3">
                  <c:v>16</c:v>
                </c:pt>
                <c:pt idx="4">
                  <c:v>17</c:v>
                </c:pt>
                <c:pt idx="5">
                  <c:v>19</c:v>
                </c:pt>
                <c:pt idx="6">
                  <c:v>24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30</c:v>
                </c:pt>
                <c:pt idx="17">
                  <c:v>31</c:v>
                </c:pt>
                <c:pt idx="18">
                  <c:v>33</c:v>
                </c:pt>
                <c:pt idx="19">
                  <c:v>34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40</c:v>
                </c:pt>
                <c:pt idx="24">
                  <c:v>41</c:v>
                </c:pt>
                <c:pt idx="25">
                  <c:v>41</c:v>
                </c:pt>
                <c:pt idx="26">
                  <c:v>42</c:v>
                </c:pt>
                <c:pt idx="27">
                  <c:v>44</c:v>
                </c:pt>
                <c:pt idx="28">
                  <c:v>44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1</c:v>
                </c:pt>
                <c:pt idx="34">
                  <c:v>51</c:v>
                </c:pt>
                <c:pt idx="35">
                  <c:v>51</c:v>
                </c:pt>
                <c:pt idx="36">
                  <c:v>53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6</c:v>
                </c:pt>
                <c:pt idx="42">
                  <c:v>56</c:v>
                </c:pt>
                <c:pt idx="43">
                  <c:v>56</c:v>
                </c:pt>
                <c:pt idx="44">
                  <c:v>56</c:v>
                </c:pt>
                <c:pt idx="45">
                  <c:v>57</c:v>
                </c:pt>
                <c:pt idx="46">
                  <c:v>57</c:v>
                </c:pt>
                <c:pt idx="47">
                  <c:v>57</c:v>
                </c:pt>
                <c:pt idx="48">
                  <c:v>58</c:v>
                </c:pt>
                <c:pt idx="49">
                  <c:v>59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2</c:v>
                </c:pt>
                <c:pt idx="55">
                  <c:v>65</c:v>
                </c:pt>
                <c:pt idx="56">
                  <c:v>65</c:v>
                </c:pt>
                <c:pt idx="57">
                  <c:v>65</c:v>
                </c:pt>
                <c:pt idx="58">
                  <c:v>65</c:v>
                </c:pt>
                <c:pt idx="59">
                  <c:v>65</c:v>
                </c:pt>
                <c:pt idx="60">
                  <c:v>65</c:v>
                </c:pt>
                <c:pt idx="61">
                  <c:v>67</c:v>
                </c:pt>
                <c:pt idx="62">
                  <c:v>70</c:v>
                </c:pt>
                <c:pt idx="63">
                  <c:v>72</c:v>
                </c:pt>
                <c:pt idx="64">
                  <c:v>72</c:v>
                </c:pt>
                <c:pt idx="65">
                  <c:v>73</c:v>
                </c:pt>
                <c:pt idx="66">
                  <c:v>74</c:v>
                </c:pt>
                <c:pt idx="67">
                  <c:v>75</c:v>
                </c:pt>
                <c:pt idx="68">
                  <c:v>75</c:v>
                </c:pt>
                <c:pt idx="69">
                  <c:v>76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8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1</c:v>
                </c:pt>
                <c:pt idx="79">
                  <c:v>81</c:v>
                </c:pt>
                <c:pt idx="80">
                  <c:v>82</c:v>
                </c:pt>
                <c:pt idx="81">
                  <c:v>83</c:v>
                </c:pt>
                <c:pt idx="82">
                  <c:v>83</c:v>
                </c:pt>
                <c:pt idx="83">
                  <c:v>85</c:v>
                </c:pt>
                <c:pt idx="84">
                  <c:v>87</c:v>
                </c:pt>
                <c:pt idx="85">
                  <c:v>87</c:v>
                </c:pt>
                <c:pt idx="86">
                  <c:v>88</c:v>
                </c:pt>
                <c:pt idx="87">
                  <c:v>91</c:v>
                </c:pt>
                <c:pt idx="88">
                  <c:v>92</c:v>
                </c:pt>
                <c:pt idx="89">
                  <c:v>92</c:v>
                </c:pt>
                <c:pt idx="90">
                  <c:v>93</c:v>
                </c:pt>
                <c:pt idx="91">
                  <c:v>94</c:v>
                </c:pt>
                <c:pt idx="92">
                  <c:v>99</c:v>
                </c:pt>
                <c:pt idx="93">
                  <c:v>100</c:v>
                </c:pt>
                <c:pt idx="94">
                  <c:v>104</c:v>
                </c:pt>
                <c:pt idx="95">
                  <c:v>104</c:v>
                </c:pt>
                <c:pt idx="96">
                  <c:v>105</c:v>
                </c:pt>
                <c:pt idx="97">
                  <c:v>106</c:v>
                </c:pt>
                <c:pt idx="98">
                  <c:v>110</c:v>
                </c:pt>
                <c:pt idx="99">
                  <c:v>112</c:v>
                </c:pt>
                <c:pt idx="100">
                  <c:v>118</c:v>
                </c:pt>
                <c:pt idx="101">
                  <c:v>119</c:v>
                </c:pt>
                <c:pt idx="102">
                  <c:v>120</c:v>
                </c:pt>
                <c:pt idx="103">
                  <c:v>120</c:v>
                </c:pt>
                <c:pt idx="104">
                  <c:v>123</c:v>
                </c:pt>
                <c:pt idx="105">
                  <c:v>125</c:v>
                </c:pt>
                <c:pt idx="106">
                  <c:v>129</c:v>
                </c:pt>
                <c:pt idx="107">
                  <c:v>129</c:v>
                </c:pt>
                <c:pt idx="108">
                  <c:v>132</c:v>
                </c:pt>
                <c:pt idx="109">
                  <c:v>132</c:v>
                </c:pt>
                <c:pt idx="110">
                  <c:v>136</c:v>
                </c:pt>
                <c:pt idx="111">
                  <c:v>141</c:v>
                </c:pt>
                <c:pt idx="112">
                  <c:v>142</c:v>
                </c:pt>
                <c:pt idx="113">
                  <c:v>142</c:v>
                </c:pt>
                <c:pt idx="114">
                  <c:v>145</c:v>
                </c:pt>
                <c:pt idx="115">
                  <c:v>148</c:v>
                </c:pt>
                <c:pt idx="116">
                  <c:v>150</c:v>
                </c:pt>
                <c:pt idx="117">
                  <c:v>150</c:v>
                </c:pt>
                <c:pt idx="118">
                  <c:v>159</c:v>
                </c:pt>
                <c:pt idx="119">
                  <c:v>162</c:v>
                </c:pt>
                <c:pt idx="120">
                  <c:v>171</c:v>
                </c:pt>
                <c:pt idx="121">
                  <c:v>177</c:v>
                </c:pt>
                <c:pt idx="122">
                  <c:v>182</c:v>
                </c:pt>
                <c:pt idx="123">
                  <c:v>186</c:v>
                </c:pt>
                <c:pt idx="124">
                  <c:v>191</c:v>
                </c:pt>
                <c:pt idx="125">
                  <c:v>198</c:v>
                </c:pt>
                <c:pt idx="126">
                  <c:v>207</c:v>
                </c:pt>
                <c:pt idx="127">
                  <c:v>220</c:v>
                </c:pt>
                <c:pt idx="128">
                  <c:v>226</c:v>
                </c:pt>
                <c:pt idx="129">
                  <c:v>237</c:v>
                </c:pt>
                <c:pt idx="130">
                  <c:v>241</c:v>
                </c:pt>
                <c:pt idx="131">
                  <c:v>244</c:v>
                </c:pt>
                <c:pt idx="132">
                  <c:v>256</c:v>
                </c:pt>
                <c:pt idx="133">
                  <c:v>267</c:v>
                </c:pt>
                <c:pt idx="134">
                  <c:v>275</c:v>
                </c:pt>
                <c:pt idx="135">
                  <c:v>285</c:v>
                </c:pt>
                <c:pt idx="136">
                  <c:v>297</c:v>
                </c:pt>
                <c:pt idx="137">
                  <c:v>305</c:v>
                </c:pt>
                <c:pt idx="138">
                  <c:v>314</c:v>
                </c:pt>
                <c:pt idx="139">
                  <c:v>329</c:v>
                </c:pt>
                <c:pt idx="140">
                  <c:v>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4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6</c:v>
                </c:pt>
                <c:pt idx="18">
                  <c:v>17</c:v>
                </c:pt>
                <c:pt idx="19">
                  <c:v>17</c:v>
                </c:pt>
                <c:pt idx="20">
                  <c:v>18</c:v>
                </c:pt>
                <c:pt idx="21">
                  <c:v>18</c:v>
                </c:pt>
                <c:pt idx="22">
                  <c:v>18</c:v>
                </c:pt>
                <c:pt idx="23">
                  <c:v>18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8</c:v>
                </c:pt>
                <c:pt idx="30">
                  <c:v>18</c:v>
                </c:pt>
                <c:pt idx="31">
                  <c:v>18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8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19</c:v>
                </c:pt>
                <c:pt idx="41">
                  <c:v>19</c:v>
                </c:pt>
                <c:pt idx="42">
                  <c:v>19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19</c:v>
                </c:pt>
                <c:pt idx="47">
                  <c:v>19</c:v>
                </c:pt>
                <c:pt idx="48">
                  <c:v>19</c:v>
                </c:pt>
                <c:pt idx="49">
                  <c:v>19</c:v>
                </c:pt>
                <c:pt idx="50">
                  <c:v>19</c:v>
                </c:pt>
                <c:pt idx="51">
                  <c:v>19</c:v>
                </c:pt>
                <c:pt idx="52">
                  <c:v>19</c:v>
                </c:pt>
                <c:pt idx="53">
                  <c:v>19</c:v>
                </c:pt>
                <c:pt idx="54">
                  <c:v>19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20</c:v>
                </c:pt>
                <c:pt idx="59">
                  <c:v>20</c:v>
                </c:pt>
                <c:pt idx="60">
                  <c:v>20</c:v>
                </c:pt>
                <c:pt idx="61">
                  <c:v>20</c:v>
                </c:pt>
                <c:pt idx="62">
                  <c:v>21</c:v>
                </c:pt>
                <c:pt idx="63">
                  <c:v>21</c:v>
                </c:pt>
                <c:pt idx="64">
                  <c:v>21</c:v>
                </c:pt>
                <c:pt idx="65">
                  <c:v>21</c:v>
                </c:pt>
                <c:pt idx="66">
                  <c:v>21</c:v>
                </c:pt>
                <c:pt idx="67">
                  <c:v>21</c:v>
                </c:pt>
                <c:pt idx="68">
                  <c:v>21</c:v>
                </c:pt>
                <c:pt idx="69">
                  <c:v>21</c:v>
                </c:pt>
                <c:pt idx="70">
                  <c:v>21</c:v>
                </c:pt>
                <c:pt idx="71">
                  <c:v>21</c:v>
                </c:pt>
                <c:pt idx="72">
                  <c:v>21</c:v>
                </c:pt>
                <c:pt idx="73">
                  <c:v>21</c:v>
                </c:pt>
                <c:pt idx="74">
                  <c:v>21</c:v>
                </c:pt>
                <c:pt idx="75">
                  <c:v>22</c:v>
                </c:pt>
                <c:pt idx="76">
                  <c:v>22</c:v>
                </c:pt>
                <c:pt idx="77">
                  <c:v>22</c:v>
                </c:pt>
                <c:pt idx="78">
                  <c:v>22</c:v>
                </c:pt>
                <c:pt idx="79">
                  <c:v>24</c:v>
                </c:pt>
                <c:pt idx="80">
                  <c:v>25</c:v>
                </c:pt>
                <c:pt idx="81">
                  <c:v>25</c:v>
                </c:pt>
                <c:pt idx="82">
                  <c:v>25</c:v>
                </c:pt>
                <c:pt idx="83">
                  <c:v>25</c:v>
                </c:pt>
                <c:pt idx="84">
                  <c:v>25</c:v>
                </c:pt>
                <c:pt idx="85">
                  <c:v>25</c:v>
                </c:pt>
                <c:pt idx="86">
                  <c:v>25</c:v>
                </c:pt>
                <c:pt idx="87">
                  <c:v>26</c:v>
                </c:pt>
                <c:pt idx="88">
                  <c:v>26</c:v>
                </c:pt>
                <c:pt idx="89">
                  <c:v>26</c:v>
                </c:pt>
                <c:pt idx="90">
                  <c:v>28</c:v>
                </c:pt>
                <c:pt idx="91">
                  <c:v>29</c:v>
                </c:pt>
                <c:pt idx="92">
                  <c:v>31</c:v>
                </c:pt>
                <c:pt idx="93">
                  <c:v>32</c:v>
                </c:pt>
                <c:pt idx="94">
                  <c:v>33</c:v>
                </c:pt>
                <c:pt idx="95">
                  <c:v>34</c:v>
                </c:pt>
                <c:pt idx="96">
                  <c:v>34</c:v>
                </c:pt>
                <c:pt idx="97">
                  <c:v>34</c:v>
                </c:pt>
                <c:pt idx="98">
                  <c:v>34</c:v>
                </c:pt>
                <c:pt idx="99">
                  <c:v>34</c:v>
                </c:pt>
                <c:pt idx="100">
                  <c:v>34</c:v>
                </c:pt>
                <c:pt idx="101">
                  <c:v>35</c:v>
                </c:pt>
                <c:pt idx="102">
                  <c:v>36</c:v>
                </c:pt>
                <c:pt idx="103">
                  <c:v>37</c:v>
                </c:pt>
                <c:pt idx="104">
                  <c:v>38</c:v>
                </c:pt>
                <c:pt idx="105">
                  <c:v>38</c:v>
                </c:pt>
                <c:pt idx="106">
                  <c:v>39</c:v>
                </c:pt>
                <c:pt idx="107">
                  <c:v>39</c:v>
                </c:pt>
                <c:pt idx="108">
                  <c:v>40</c:v>
                </c:pt>
                <c:pt idx="109">
                  <c:v>40</c:v>
                </c:pt>
                <c:pt idx="110">
                  <c:v>40</c:v>
                </c:pt>
                <c:pt idx="111">
                  <c:v>40</c:v>
                </c:pt>
                <c:pt idx="112">
                  <c:v>40</c:v>
                </c:pt>
                <c:pt idx="113">
                  <c:v>42</c:v>
                </c:pt>
                <c:pt idx="114">
                  <c:v>44</c:v>
                </c:pt>
                <c:pt idx="115">
                  <c:v>45</c:v>
                </c:pt>
                <c:pt idx="116">
                  <c:v>46</c:v>
                </c:pt>
                <c:pt idx="117">
                  <c:v>46</c:v>
                </c:pt>
                <c:pt idx="118">
                  <c:v>46</c:v>
                </c:pt>
                <c:pt idx="119">
                  <c:v>46</c:v>
                </c:pt>
                <c:pt idx="120">
                  <c:v>47</c:v>
                </c:pt>
                <c:pt idx="121">
                  <c:v>48</c:v>
                </c:pt>
                <c:pt idx="122">
                  <c:v>49</c:v>
                </c:pt>
                <c:pt idx="123">
                  <c:v>50</c:v>
                </c:pt>
                <c:pt idx="124">
                  <c:v>54</c:v>
                </c:pt>
                <c:pt idx="125">
                  <c:v>56</c:v>
                </c:pt>
                <c:pt idx="126">
                  <c:v>57</c:v>
                </c:pt>
                <c:pt idx="127">
                  <c:v>59</c:v>
                </c:pt>
                <c:pt idx="128">
                  <c:v>65</c:v>
                </c:pt>
                <c:pt idx="129">
                  <c:v>69</c:v>
                </c:pt>
                <c:pt idx="130">
                  <c:v>71</c:v>
                </c:pt>
                <c:pt idx="131">
                  <c:v>74</c:v>
                </c:pt>
                <c:pt idx="132">
                  <c:v>79</c:v>
                </c:pt>
                <c:pt idx="133">
                  <c:v>83</c:v>
                </c:pt>
                <c:pt idx="134">
                  <c:v>86</c:v>
                </c:pt>
                <c:pt idx="135">
                  <c:v>88</c:v>
                </c:pt>
                <c:pt idx="136">
                  <c:v>99</c:v>
                </c:pt>
                <c:pt idx="137">
                  <c:v>103</c:v>
                </c:pt>
                <c:pt idx="138">
                  <c:v>104</c:v>
                </c:pt>
                <c:pt idx="139">
                  <c:v>106</c:v>
                </c:pt>
                <c:pt idx="140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9</c:v>
                </c:pt>
                <c:pt idx="2">
                  <c:v>11</c:v>
                </c:pt>
                <c:pt idx="3">
                  <c:v>15</c:v>
                </c:pt>
                <c:pt idx="4">
                  <c:v>15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3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2</c:v>
                </c:pt>
                <c:pt idx="48">
                  <c:v>32</c:v>
                </c:pt>
                <c:pt idx="49">
                  <c:v>32</c:v>
                </c:pt>
                <c:pt idx="50">
                  <c:v>33</c:v>
                </c:pt>
                <c:pt idx="51">
                  <c:v>33</c:v>
                </c:pt>
                <c:pt idx="52">
                  <c:v>33</c:v>
                </c:pt>
                <c:pt idx="53">
                  <c:v>33</c:v>
                </c:pt>
                <c:pt idx="54">
                  <c:v>34</c:v>
                </c:pt>
                <c:pt idx="55">
                  <c:v>35</c:v>
                </c:pt>
                <c:pt idx="56">
                  <c:v>35</c:v>
                </c:pt>
                <c:pt idx="57">
                  <c:v>36</c:v>
                </c:pt>
                <c:pt idx="58">
                  <c:v>36</c:v>
                </c:pt>
                <c:pt idx="59">
                  <c:v>36</c:v>
                </c:pt>
                <c:pt idx="60">
                  <c:v>36</c:v>
                </c:pt>
                <c:pt idx="61">
                  <c:v>36</c:v>
                </c:pt>
                <c:pt idx="62">
                  <c:v>36</c:v>
                </c:pt>
                <c:pt idx="63">
                  <c:v>36</c:v>
                </c:pt>
                <c:pt idx="64">
                  <c:v>37</c:v>
                </c:pt>
                <c:pt idx="65">
                  <c:v>37</c:v>
                </c:pt>
                <c:pt idx="66">
                  <c:v>39</c:v>
                </c:pt>
                <c:pt idx="67">
                  <c:v>39</c:v>
                </c:pt>
                <c:pt idx="68">
                  <c:v>39</c:v>
                </c:pt>
                <c:pt idx="69">
                  <c:v>39</c:v>
                </c:pt>
                <c:pt idx="70">
                  <c:v>39</c:v>
                </c:pt>
                <c:pt idx="71">
                  <c:v>39</c:v>
                </c:pt>
                <c:pt idx="72">
                  <c:v>40</c:v>
                </c:pt>
                <c:pt idx="73">
                  <c:v>40</c:v>
                </c:pt>
                <c:pt idx="74">
                  <c:v>40</c:v>
                </c:pt>
                <c:pt idx="75">
                  <c:v>40</c:v>
                </c:pt>
                <c:pt idx="76">
                  <c:v>40</c:v>
                </c:pt>
                <c:pt idx="77">
                  <c:v>40</c:v>
                </c:pt>
                <c:pt idx="78">
                  <c:v>41</c:v>
                </c:pt>
                <c:pt idx="79">
                  <c:v>41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1</c:v>
                </c:pt>
                <c:pt idx="84">
                  <c:v>41</c:v>
                </c:pt>
                <c:pt idx="85">
                  <c:v>41</c:v>
                </c:pt>
                <c:pt idx="86">
                  <c:v>41</c:v>
                </c:pt>
                <c:pt idx="87">
                  <c:v>41</c:v>
                </c:pt>
                <c:pt idx="88">
                  <c:v>41</c:v>
                </c:pt>
                <c:pt idx="89">
                  <c:v>41</c:v>
                </c:pt>
                <c:pt idx="90">
                  <c:v>41</c:v>
                </c:pt>
                <c:pt idx="91">
                  <c:v>41</c:v>
                </c:pt>
                <c:pt idx="92">
                  <c:v>43</c:v>
                </c:pt>
                <c:pt idx="93">
                  <c:v>44</c:v>
                </c:pt>
                <c:pt idx="94">
                  <c:v>45</c:v>
                </c:pt>
                <c:pt idx="95">
                  <c:v>47</c:v>
                </c:pt>
                <c:pt idx="96">
                  <c:v>50</c:v>
                </c:pt>
                <c:pt idx="97">
                  <c:v>52</c:v>
                </c:pt>
                <c:pt idx="98">
                  <c:v>54</c:v>
                </c:pt>
                <c:pt idx="99">
                  <c:v>54</c:v>
                </c:pt>
                <c:pt idx="100">
                  <c:v>54</c:v>
                </c:pt>
                <c:pt idx="101">
                  <c:v>54</c:v>
                </c:pt>
                <c:pt idx="102">
                  <c:v>56</c:v>
                </c:pt>
                <c:pt idx="103">
                  <c:v>57</c:v>
                </c:pt>
                <c:pt idx="104">
                  <c:v>58</c:v>
                </c:pt>
                <c:pt idx="105">
                  <c:v>58</c:v>
                </c:pt>
                <c:pt idx="106">
                  <c:v>58</c:v>
                </c:pt>
                <c:pt idx="107">
                  <c:v>61</c:v>
                </c:pt>
                <c:pt idx="108">
                  <c:v>62</c:v>
                </c:pt>
                <c:pt idx="109">
                  <c:v>63</c:v>
                </c:pt>
                <c:pt idx="110">
                  <c:v>65</c:v>
                </c:pt>
                <c:pt idx="111">
                  <c:v>65</c:v>
                </c:pt>
                <c:pt idx="112">
                  <c:v>66</c:v>
                </c:pt>
                <c:pt idx="113">
                  <c:v>66</c:v>
                </c:pt>
                <c:pt idx="114">
                  <c:v>67</c:v>
                </c:pt>
                <c:pt idx="115">
                  <c:v>69</c:v>
                </c:pt>
                <c:pt idx="116">
                  <c:v>70</c:v>
                </c:pt>
                <c:pt idx="117">
                  <c:v>71</c:v>
                </c:pt>
                <c:pt idx="118">
                  <c:v>72</c:v>
                </c:pt>
                <c:pt idx="119">
                  <c:v>73</c:v>
                </c:pt>
                <c:pt idx="120">
                  <c:v>74</c:v>
                </c:pt>
                <c:pt idx="121">
                  <c:v>75</c:v>
                </c:pt>
                <c:pt idx="122">
                  <c:v>76</c:v>
                </c:pt>
                <c:pt idx="123">
                  <c:v>77</c:v>
                </c:pt>
                <c:pt idx="124">
                  <c:v>78</c:v>
                </c:pt>
                <c:pt idx="125">
                  <c:v>80</c:v>
                </c:pt>
                <c:pt idx="126">
                  <c:v>81</c:v>
                </c:pt>
                <c:pt idx="127">
                  <c:v>84</c:v>
                </c:pt>
                <c:pt idx="128">
                  <c:v>90</c:v>
                </c:pt>
                <c:pt idx="129">
                  <c:v>93</c:v>
                </c:pt>
                <c:pt idx="130">
                  <c:v>94</c:v>
                </c:pt>
                <c:pt idx="131">
                  <c:v>96</c:v>
                </c:pt>
                <c:pt idx="132">
                  <c:v>103</c:v>
                </c:pt>
                <c:pt idx="133">
                  <c:v>108</c:v>
                </c:pt>
                <c:pt idx="134">
                  <c:v>111</c:v>
                </c:pt>
                <c:pt idx="135">
                  <c:v>115</c:v>
                </c:pt>
                <c:pt idx="136">
                  <c:v>121</c:v>
                </c:pt>
                <c:pt idx="137">
                  <c:v>129</c:v>
                </c:pt>
                <c:pt idx="138">
                  <c:v>135</c:v>
                </c:pt>
                <c:pt idx="139">
                  <c:v>140</c:v>
                </c:pt>
                <c:pt idx="140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2</c:v>
                </c:pt>
                <c:pt idx="2">
                  <c:v>13</c:v>
                </c:pt>
                <c:pt idx="3">
                  <c:v>12</c:v>
                </c:pt>
                <c:pt idx="4">
                  <c:v>9</c:v>
                </c:pt>
                <c:pt idx="5">
                  <c:v>8</c:v>
                </c:pt>
                <c:pt idx="6">
                  <c:v>11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6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2</c:v>
                </c:pt>
                <c:pt idx="44">
                  <c:v>2</c:v>
                </c:pt>
                <c:pt idx="45">
                  <c:v>5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2</c:v>
                </c:pt>
                <c:pt idx="64">
                  <c:v>3</c:v>
                </c:pt>
                <c:pt idx="65">
                  <c:v>3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2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4</c:v>
                </c:pt>
                <c:pt idx="85">
                  <c:v>5</c:v>
                </c:pt>
                <c:pt idx="86">
                  <c:v>4</c:v>
                </c:pt>
                <c:pt idx="87">
                  <c:v>4</c:v>
                </c:pt>
                <c:pt idx="88">
                  <c:v>5</c:v>
                </c:pt>
                <c:pt idx="89">
                  <c:v>6</c:v>
                </c:pt>
                <c:pt idx="90">
                  <c:v>5</c:v>
                </c:pt>
                <c:pt idx="91">
                  <c:v>3</c:v>
                </c:pt>
                <c:pt idx="92">
                  <c:v>3</c:v>
                </c:pt>
                <c:pt idx="93">
                  <c:v>3</c:v>
                </c:pt>
                <c:pt idx="94">
                  <c:v>4</c:v>
                </c:pt>
                <c:pt idx="95">
                  <c:v>4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9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4</c:v>
                </c:pt>
                <c:pt idx="109">
                  <c:v>12</c:v>
                </c:pt>
                <c:pt idx="110">
                  <c:v>12</c:v>
                </c:pt>
                <c:pt idx="111">
                  <c:v>13</c:v>
                </c:pt>
                <c:pt idx="112">
                  <c:v>14</c:v>
                </c:pt>
                <c:pt idx="113">
                  <c:v>14</c:v>
                </c:pt>
                <c:pt idx="114">
                  <c:v>12</c:v>
                </c:pt>
                <c:pt idx="115">
                  <c:v>11</c:v>
                </c:pt>
                <c:pt idx="116">
                  <c:v>8</c:v>
                </c:pt>
                <c:pt idx="117">
                  <c:v>9</c:v>
                </c:pt>
                <c:pt idx="118">
                  <c:v>7</c:v>
                </c:pt>
                <c:pt idx="119">
                  <c:v>8</c:v>
                </c:pt>
                <c:pt idx="120">
                  <c:v>8</c:v>
                </c:pt>
                <c:pt idx="121">
                  <c:v>10</c:v>
                </c:pt>
                <c:pt idx="122">
                  <c:v>11</c:v>
                </c:pt>
                <c:pt idx="123">
                  <c:v>11</c:v>
                </c:pt>
                <c:pt idx="124">
                  <c:v>14</c:v>
                </c:pt>
                <c:pt idx="125">
                  <c:v>18</c:v>
                </c:pt>
                <c:pt idx="126">
                  <c:v>21</c:v>
                </c:pt>
                <c:pt idx="127">
                  <c:v>19</c:v>
                </c:pt>
                <c:pt idx="128">
                  <c:v>16</c:v>
                </c:pt>
                <c:pt idx="129">
                  <c:v>18</c:v>
                </c:pt>
                <c:pt idx="130">
                  <c:v>19</c:v>
                </c:pt>
                <c:pt idx="131">
                  <c:v>20</c:v>
                </c:pt>
                <c:pt idx="132">
                  <c:v>25</c:v>
                </c:pt>
                <c:pt idx="133">
                  <c:v>22</c:v>
                </c:pt>
                <c:pt idx="134">
                  <c:v>22</c:v>
                </c:pt>
                <c:pt idx="135">
                  <c:v>21</c:v>
                </c:pt>
                <c:pt idx="136">
                  <c:v>25</c:v>
                </c:pt>
                <c:pt idx="137">
                  <c:v>24</c:v>
                </c:pt>
                <c:pt idx="138">
                  <c:v>21</c:v>
                </c:pt>
                <c:pt idx="139">
                  <c:v>23</c:v>
                </c:pt>
                <c:pt idx="140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4</c:v>
                </c:pt>
                <c:pt idx="3">
                  <c:v>18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22</c:v>
                </c:pt>
                <c:pt idx="8">
                  <c:v>26</c:v>
                </c:pt>
                <c:pt idx="9">
                  <c:v>27</c:v>
                </c:pt>
                <c:pt idx="10">
                  <c:v>29</c:v>
                </c:pt>
                <c:pt idx="11">
                  <c:v>32</c:v>
                </c:pt>
                <c:pt idx="12">
                  <c:v>33</c:v>
                </c:pt>
                <c:pt idx="13">
                  <c:v>35</c:v>
                </c:pt>
                <c:pt idx="14">
                  <c:v>36</c:v>
                </c:pt>
                <c:pt idx="15">
                  <c:v>37</c:v>
                </c:pt>
                <c:pt idx="16">
                  <c:v>38</c:v>
                </c:pt>
                <c:pt idx="17">
                  <c:v>40</c:v>
                </c:pt>
                <c:pt idx="18">
                  <c:v>44</c:v>
                </c:pt>
                <c:pt idx="19">
                  <c:v>44</c:v>
                </c:pt>
                <c:pt idx="20">
                  <c:v>45</c:v>
                </c:pt>
                <c:pt idx="21">
                  <c:v>48</c:v>
                </c:pt>
                <c:pt idx="22">
                  <c:v>48</c:v>
                </c:pt>
                <c:pt idx="23">
                  <c:v>48</c:v>
                </c:pt>
                <c:pt idx="24">
                  <c:v>50</c:v>
                </c:pt>
                <c:pt idx="25">
                  <c:v>50</c:v>
                </c:pt>
                <c:pt idx="26">
                  <c:v>51</c:v>
                </c:pt>
                <c:pt idx="27">
                  <c:v>51</c:v>
                </c:pt>
                <c:pt idx="28">
                  <c:v>51</c:v>
                </c:pt>
                <c:pt idx="29">
                  <c:v>54</c:v>
                </c:pt>
                <c:pt idx="30">
                  <c:v>54</c:v>
                </c:pt>
                <c:pt idx="31">
                  <c:v>54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6</c:v>
                </c:pt>
                <c:pt idx="38">
                  <c:v>56</c:v>
                </c:pt>
                <c:pt idx="39">
                  <c:v>56</c:v>
                </c:pt>
                <c:pt idx="40">
                  <c:v>59</c:v>
                </c:pt>
                <c:pt idx="41">
                  <c:v>59</c:v>
                </c:pt>
                <c:pt idx="42">
                  <c:v>59</c:v>
                </c:pt>
                <c:pt idx="43">
                  <c:v>60</c:v>
                </c:pt>
                <c:pt idx="44">
                  <c:v>62</c:v>
                </c:pt>
                <c:pt idx="45">
                  <c:v>63</c:v>
                </c:pt>
                <c:pt idx="46">
                  <c:v>63</c:v>
                </c:pt>
                <c:pt idx="47">
                  <c:v>63</c:v>
                </c:pt>
                <c:pt idx="48">
                  <c:v>64</c:v>
                </c:pt>
                <c:pt idx="49">
                  <c:v>64</c:v>
                </c:pt>
                <c:pt idx="50">
                  <c:v>64</c:v>
                </c:pt>
                <c:pt idx="51">
                  <c:v>65</c:v>
                </c:pt>
                <c:pt idx="52">
                  <c:v>65</c:v>
                </c:pt>
                <c:pt idx="53">
                  <c:v>66</c:v>
                </c:pt>
                <c:pt idx="54">
                  <c:v>66</c:v>
                </c:pt>
                <c:pt idx="55">
                  <c:v>68</c:v>
                </c:pt>
                <c:pt idx="56">
                  <c:v>68</c:v>
                </c:pt>
                <c:pt idx="57">
                  <c:v>68</c:v>
                </c:pt>
                <c:pt idx="58">
                  <c:v>68</c:v>
                </c:pt>
                <c:pt idx="59">
                  <c:v>68</c:v>
                </c:pt>
                <c:pt idx="60">
                  <c:v>68</c:v>
                </c:pt>
                <c:pt idx="61">
                  <c:v>69</c:v>
                </c:pt>
                <c:pt idx="62">
                  <c:v>69</c:v>
                </c:pt>
                <c:pt idx="63">
                  <c:v>69</c:v>
                </c:pt>
                <c:pt idx="64">
                  <c:v>71</c:v>
                </c:pt>
                <c:pt idx="65">
                  <c:v>71</c:v>
                </c:pt>
                <c:pt idx="66">
                  <c:v>71</c:v>
                </c:pt>
                <c:pt idx="67">
                  <c:v>71</c:v>
                </c:pt>
                <c:pt idx="68">
                  <c:v>71</c:v>
                </c:pt>
                <c:pt idx="69">
                  <c:v>71</c:v>
                </c:pt>
                <c:pt idx="70">
                  <c:v>71</c:v>
                </c:pt>
                <c:pt idx="71">
                  <c:v>72</c:v>
                </c:pt>
                <c:pt idx="72">
                  <c:v>72</c:v>
                </c:pt>
                <c:pt idx="73">
                  <c:v>73</c:v>
                </c:pt>
                <c:pt idx="74">
                  <c:v>73</c:v>
                </c:pt>
                <c:pt idx="75">
                  <c:v>73</c:v>
                </c:pt>
                <c:pt idx="76">
                  <c:v>73</c:v>
                </c:pt>
                <c:pt idx="77">
                  <c:v>74</c:v>
                </c:pt>
                <c:pt idx="78">
                  <c:v>74</c:v>
                </c:pt>
                <c:pt idx="79">
                  <c:v>76</c:v>
                </c:pt>
                <c:pt idx="80">
                  <c:v>80</c:v>
                </c:pt>
                <c:pt idx="81">
                  <c:v>80</c:v>
                </c:pt>
                <c:pt idx="82">
                  <c:v>80</c:v>
                </c:pt>
                <c:pt idx="83">
                  <c:v>82</c:v>
                </c:pt>
                <c:pt idx="84">
                  <c:v>84</c:v>
                </c:pt>
                <c:pt idx="85">
                  <c:v>84</c:v>
                </c:pt>
                <c:pt idx="86">
                  <c:v>86</c:v>
                </c:pt>
                <c:pt idx="87">
                  <c:v>87</c:v>
                </c:pt>
                <c:pt idx="88">
                  <c:v>87</c:v>
                </c:pt>
                <c:pt idx="89">
                  <c:v>87</c:v>
                </c:pt>
                <c:pt idx="90">
                  <c:v>87</c:v>
                </c:pt>
                <c:pt idx="91">
                  <c:v>87</c:v>
                </c:pt>
                <c:pt idx="92">
                  <c:v>87</c:v>
                </c:pt>
                <c:pt idx="93">
                  <c:v>87</c:v>
                </c:pt>
                <c:pt idx="94">
                  <c:v>88</c:v>
                </c:pt>
                <c:pt idx="95">
                  <c:v>89</c:v>
                </c:pt>
                <c:pt idx="96">
                  <c:v>90</c:v>
                </c:pt>
                <c:pt idx="97">
                  <c:v>92</c:v>
                </c:pt>
                <c:pt idx="98">
                  <c:v>92</c:v>
                </c:pt>
                <c:pt idx="99">
                  <c:v>94</c:v>
                </c:pt>
                <c:pt idx="100">
                  <c:v>96</c:v>
                </c:pt>
                <c:pt idx="101">
                  <c:v>96</c:v>
                </c:pt>
                <c:pt idx="102">
                  <c:v>99</c:v>
                </c:pt>
                <c:pt idx="103">
                  <c:v>106</c:v>
                </c:pt>
                <c:pt idx="104">
                  <c:v>112</c:v>
                </c:pt>
                <c:pt idx="105">
                  <c:v>118</c:v>
                </c:pt>
                <c:pt idx="106">
                  <c:v>121</c:v>
                </c:pt>
                <c:pt idx="107">
                  <c:v>124</c:v>
                </c:pt>
                <c:pt idx="108">
                  <c:v>127</c:v>
                </c:pt>
                <c:pt idx="109">
                  <c:v>130</c:v>
                </c:pt>
                <c:pt idx="110">
                  <c:v>133</c:v>
                </c:pt>
                <c:pt idx="111">
                  <c:v>139</c:v>
                </c:pt>
                <c:pt idx="112">
                  <c:v>143</c:v>
                </c:pt>
                <c:pt idx="113">
                  <c:v>150</c:v>
                </c:pt>
                <c:pt idx="114">
                  <c:v>155</c:v>
                </c:pt>
                <c:pt idx="115">
                  <c:v>161</c:v>
                </c:pt>
                <c:pt idx="116">
                  <c:v>168</c:v>
                </c:pt>
                <c:pt idx="117">
                  <c:v>170</c:v>
                </c:pt>
                <c:pt idx="118">
                  <c:v>173</c:v>
                </c:pt>
                <c:pt idx="119">
                  <c:v>179</c:v>
                </c:pt>
                <c:pt idx="120">
                  <c:v>184</c:v>
                </c:pt>
                <c:pt idx="121">
                  <c:v>187</c:v>
                </c:pt>
                <c:pt idx="122">
                  <c:v>192</c:v>
                </c:pt>
                <c:pt idx="123">
                  <c:v>202</c:v>
                </c:pt>
                <c:pt idx="124">
                  <c:v>205</c:v>
                </c:pt>
                <c:pt idx="125">
                  <c:v>210</c:v>
                </c:pt>
                <c:pt idx="126">
                  <c:v>215</c:v>
                </c:pt>
                <c:pt idx="127">
                  <c:v>225</c:v>
                </c:pt>
                <c:pt idx="128">
                  <c:v>233</c:v>
                </c:pt>
                <c:pt idx="129">
                  <c:v>239</c:v>
                </c:pt>
                <c:pt idx="130">
                  <c:v>246</c:v>
                </c:pt>
                <c:pt idx="131">
                  <c:v>251</c:v>
                </c:pt>
                <c:pt idx="132">
                  <c:v>262</c:v>
                </c:pt>
                <c:pt idx="133">
                  <c:v>271</c:v>
                </c:pt>
                <c:pt idx="134">
                  <c:v>293</c:v>
                </c:pt>
                <c:pt idx="135">
                  <c:v>299</c:v>
                </c:pt>
                <c:pt idx="136">
                  <c:v>311</c:v>
                </c:pt>
                <c:pt idx="137">
                  <c:v>323</c:v>
                </c:pt>
                <c:pt idx="138">
                  <c:v>329</c:v>
                </c:pt>
                <c:pt idx="139">
                  <c:v>337</c:v>
                </c:pt>
                <c:pt idx="140">
                  <c:v>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</c:v>
                </c:pt>
                <c:pt idx="1">
                  <c:v>25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1</c:v>
                </c:pt>
                <c:pt idx="9">
                  <c:v>19</c:v>
                </c:pt>
                <c:pt idx="10">
                  <c:v>17</c:v>
                </c:pt>
                <c:pt idx="11">
                  <c:v>18</c:v>
                </c:pt>
                <c:pt idx="12">
                  <c:v>16</c:v>
                </c:pt>
                <c:pt idx="13">
                  <c:v>16</c:v>
                </c:pt>
                <c:pt idx="14">
                  <c:v>14</c:v>
                </c:pt>
                <c:pt idx="15">
                  <c:v>11</c:v>
                </c:pt>
                <c:pt idx="16">
                  <c:v>13</c:v>
                </c:pt>
                <c:pt idx="17">
                  <c:v>11</c:v>
                </c:pt>
                <c:pt idx="18">
                  <c:v>8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4</c:v>
                </c:pt>
                <c:pt idx="23">
                  <c:v>3</c:v>
                </c:pt>
                <c:pt idx="24">
                  <c:v>3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3</c:v>
                </c:pt>
                <c:pt idx="57">
                  <c:v>5</c:v>
                </c:pt>
                <c:pt idx="58">
                  <c:v>4</c:v>
                </c:pt>
                <c:pt idx="59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4</c:v>
                </c:pt>
                <c:pt idx="65">
                  <c:v>4</c:v>
                </c:pt>
                <c:pt idx="66">
                  <c:v>5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6</c:v>
                </c:pt>
                <c:pt idx="71">
                  <c:v>6</c:v>
                </c:pt>
                <c:pt idx="72">
                  <c:v>6</c:v>
                </c:pt>
                <c:pt idx="73">
                  <c:v>3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4</c:v>
                </c:pt>
                <c:pt idx="95">
                  <c:v>2</c:v>
                </c:pt>
                <c:pt idx="96">
                  <c:v>3</c:v>
                </c:pt>
                <c:pt idx="97">
                  <c:v>3</c:v>
                </c:pt>
                <c:pt idx="98">
                  <c:v>2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2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2</c:v>
                </c:pt>
                <c:pt idx="112">
                  <c:v>5</c:v>
                </c:pt>
                <c:pt idx="113">
                  <c:v>6</c:v>
                </c:pt>
                <c:pt idx="114">
                  <c:v>7</c:v>
                </c:pt>
                <c:pt idx="115">
                  <c:v>7</c:v>
                </c:pt>
                <c:pt idx="116">
                  <c:v>9</c:v>
                </c:pt>
                <c:pt idx="117">
                  <c:v>12</c:v>
                </c:pt>
                <c:pt idx="118">
                  <c:v>18</c:v>
                </c:pt>
                <c:pt idx="119">
                  <c:v>19</c:v>
                </c:pt>
                <c:pt idx="120">
                  <c:v>23</c:v>
                </c:pt>
                <c:pt idx="121">
                  <c:v>21</c:v>
                </c:pt>
                <c:pt idx="122">
                  <c:v>24</c:v>
                </c:pt>
                <c:pt idx="123">
                  <c:v>21</c:v>
                </c:pt>
                <c:pt idx="124">
                  <c:v>23</c:v>
                </c:pt>
                <c:pt idx="125">
                  <c:v>26</c:v>
                </c:pt>
                <c:pt idx="126">
                  <c:v>27</c:v>
                </c:pt>
                <c:pt idx="127">
                  <c:v>26</c:v>
                </c:pt>
                <c:pt idx="128">
                  <c:v>24</c:v>
                </c:pt>
                <c:pt idx="129">
                  <c:v>33</c:v>
                </c:pt>
                <c:pt idx="130">
                  <c:v>30</c:v>
                </c:pt>
                <c:pt idx="131">
                  <c:v>35</c:v>
                </c:pt>
                <c:pt idx="132">
                  <c:v>36</c:v>
                </c:pt>
                <c:pt idx="133">
                  <c:v>33</c:v>
                </c:pt>
                <c:pt idx="134">
                  <c:v>35</c:v>
                </c:pt>
                <c:pt idx="135">
                  <c:v>35</c:v>
                </c:pt>
                <c:pt idx="136">
                  <c:v>44</c:v>
                </c:pt>
                <c:pt idx="137">
                  <c:v>49</c:v>
                </c:pt>
                <c:pt idx="138">
                  <c:v>61</c:v>
                </c:pt>
                <c:pt idx="139">
                  <c:v>69</c:v>
                </c:pt>
                <c:pt idx="14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8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8</c:v>
                </c:pt>
                <c:pt idx="2">
                  <c:v>15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1</c:v>
                </c:pt>
                <c:pt idx="7">
                  <c:v>10</c:v>
                </c:pt>
                <c:pt idx="8">
                  <c:v>9</c:v>
                </c:pt>
                <c:pt idx="9">
                  <c:v>7</c:v>
                </c:pt>
                <c:pt idx="10">
                  <c:v>6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4</c:v>
                </c:pt>
                <c:pt idx="15">
                  <c:v>4</c:v>
                </c:pt>
                <c:pt idx="16">
                  <c:v>3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6</c:v>
                </c:pt>
                <c:pt idx="49">
                  <c:v>7</c:v>
                </c:pt>
                <c:pt idx="50">
                  <c:v>8</c:v>
                </c:pt>
                <c:pt idx="51">
                  <c:v>7</c:v>
                </c:pt>
                <c:pt idx="52">
                  <c:v>6</c:v>
                </c:pt>
                <c:pt idx="53">
                  <c:v>6</c:v>
                </c:pt>
                <c:pt idx="54">
                  <c:v>7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11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9</c:v>
                </c:pt>
                <c:pt idx="63">
                  <c:v>9</c:v>
                </c:pt>
                <c:pt idx="64">
                  <c:v>10</c:v>
                </c:pt>
                <c:pt idx="65">
                  <c:v>10</c:v>
                </c:pt>
                <c:pt idx="66">
                  <c:v>9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8</c:v>
                </c:pt>
                <c:pt idx="71">
                  <c:v>8</c:v>
                </c:pt>
                <c:pt idx="72">
                  <c:v>7</c:v>
                </c:pt>
                <c:pt idx="73">
                  <c:v>7</c:v>
                </c:pt>
                <c:pt idx="74">
                  <c:v>8</c:v>
                </c:pt>
                <c:pt idx="75">
                  <c:v>8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>
                  <c:v>9</c:v>
                </c:pt>
                <c:pt idx="80">
                  <c:v>9</c:v>
                </c:pt>
                <c:pt idx="81">
                  <c:v>7</c:v>
                </c:pt>
                <c:pt idx="82">
                  <c:v>7</c:v>
                </c:pt>
                <c:pt idx="83">
                  <c:v>8</c:v>
                </c:pt>
                <c:pt idx="84">
                  <c:v>8</c:v>
                </c:pt>
                <c:pt idx="85">
                  <c:v>7</c:v>
                </c:pt>
                <c:pt idx="86">
                  <c:v>7</c:v>
                </c:pt>
                <c:pt idx="87">
                  <c:v>4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2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4</c:v>
                </c:pt>
                <c:pt idx="106">
                  <c:v>4</c:v>
                </c:pt>
                <c:pt idx="107">
                  <c:v>4</c:v>
                </c:pt>
                <c:pt idx="108">
                  <c:v>4</c:v>
                </c:pt>
                <c:pt idx="109">
                  <c:v>3</c:v>
                </c:pt>
                <c:pt idx="110">
                  <c:v>3</c:v>
                </c:pt>
                <c:pt idx="111">
                  <c:v>4</c:v>
                </c:pt>
                <c:pt idx="112">
                  <c:v>6</c:v>
                </c:pt>
                <c:pt idx="113">
                  <c:v>6</c:v>
                </c:pt>
                <c:pt idx="114">
                  <c:v>5</c:v>
                </c:pt>
                <c:pt idx="115">
                  <c:v>6</c:v>
                </c:pt>
                <c:pt idx="116">
                  <c:v>7</c:v>
                </c:pt>
                <c:pt idx="117">
                  <c:v>8</c:v>
                </c:pt>
                <c:pt idx="118">
                  <c:v>12</c:v>
                </c:pt>
                <c:pt idx="119">
                  <c:v>12</c:v>
                </c:pt>
                <c:pt idx="120">
                  <c:v>13</c:v>
                </c:pt>
                <c:pt idx="121">
                  <c:v>11</c:v>
                </c:pt>
                <c:pt idx="122">
                  <c:v>15</c:v>
                </c:pt>
                <c:pt idx="123">
                  <c:v>13</c:v>
                </c:pt>
                <c:pt idx="124">
                  <c:v>12</c:v>
                </c:pt>
                <c:pt idx="125">
                  <c:v>12</c:v>
                </c:pt>
                <c:pt idx="126">
                  <c:v>12</c:v>
                </c:pt>
                <c:pt idx="127">
                  <c:v>12</c:v>
                </c:pt>
                <c:pt idx="128">
                  <c:v>13</c:v>
                </c:pt>
                <c:pt idx="129">
                  <c:v>11</c:v>
                </c:pt>
                <c:pt idx="130">
                  <c:v>14</c:v>
                </c:pt>
                <c:pt idx="131">
                  <c:v>17</c:v>
                </c:pt>
                <c:pt idx="132">
                  <c:v>16</c:v>
                </c:pt>
                <c:pt idx="133">
                  <c:v>18</c:v>
                </c:pt>
                <c:pt idx="134">
                  <c:v>20</c:v>
                </c:pt>
                <c:pt idx="135">
                  <c:v>24</c:v>
                </c:pt>
                <c:pt idx="136">
                  <c:v>22</c:v>
                </c:pt>
                <c:pt idx="137">
                  <c:v>19</c:v>
                </c:pt>
                <c:pt idx="138">
                  <c:v>22</c:v>
                </c:pt>
                <c:pt idx="139">
                  <c:v>24</c:v>
                </c:pt>
                <c:pt idx="140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1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3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3</c:v>
                </c:pt>
                <c:pt idx="89">
                  <c:v>3</c:v>
                </c:pt>
                <c:pt idx="90">
                  <c:v>3</c:v>
                </c:pt>
                <c:pt idx="91">
                  <c:v>5</c:v>
                </c:pt>
                <c:pt idx="92">
                  <c:v>4</c:v>
                </c:pt>
                <c:pt idx="93">
                  <c:v>4</c:v>
                </c:pt>
                <c:pt idx="94">
                  <c:v>4</c:v>
                </c:pt>
                <c:pt idx="95">
                  <c:v>3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8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0</c:v>
                </c:pt>
                <c:pt idx="109">
                  <c:v>9</c:v>
                </c:pt>
                <c:pt idx="110">
                  <c:v>9</c:v>
                </c:pt>
                <c:pt idx="111">
                  <c:v>9</c:v>
                </c:pt>
                <c:pt idx="112">
                  <c:v>8</c:v>
                </c:pt>
                <c:pt idx="113">
                  <c:v>6</c:v>
                </c:pt>
                <c:pt idx="114">
                  <c:v>7</c:v>
                </c:pt>
                <c:pt idx="115">
                  <c:v>6</c:v>
                </c:pt>
                <c:pt idx="116">
                  <c:v>6</c:v>
                </c:pt>
                <c:pt idx="117">
                  <c:v>5</c:v>
                </c:pt>
                <c:pt idx="118">
                  <c:v>6</c:v>
                </c:pt>
                <c:pt idx="119">
                  <c:v>7</c:v>
                </c:pt>
                <c:pt idx="120">
                  <c:v>6</c:v>
                </c:pt>
                <c:pt idx="121">
                  <c:v>5</c:v>
                </c:pt>
                <c:pt idx="122">
                  <c:v>5</c:v>
                </c:pt>
                <c:pt idx="123">
                  <c:v>6</c:v>
                </c:pt>
                <c:pt idx="124">
                  <c:v>5</c:v>
                </c:pt>
                <c:pt idx="125">
                  <c:v>4</c:v>
                </c:pt>
                <c:pt idx="126">
                  <c:v>3</c:v>
                </c:pt>
                <c:pt idx="127">
                  <c:v>4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3</c:v>
                </c:pt>
                <c:pt idx="132">
                  <c:v>3</c:v>
                </c:pt>
                <c:pt idx="133">
                  <c:v>5</c:v>
                </c:pt>
                <c:pt idx="134">
                  <c:v>6</c:v>
                </c:pt>
                <c:pt idx="135">
                  <c:v>8</c:v>
                </c:pt>
                <c:pt idx="136">
                  <c:v>9</c:v>
                </c:pt>
                <c:pt idx="137">
                  <c:v>8</c:v>
                </c:pt>
                <c:pt idx="138">
                  <c:v>8</c:v>
                </c:pt>
                <c:pt idx="139">
                  <c:v>8</c:v>
                </c:pt>
                <c:pt idx="14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37</c:v>
                </c:pt>
                <c:pt idx="2">
                  <c:v>25</c:v>
                </c:pt>
                <c:pt idx="3">
                  <c:v>13</c:v>
                </c:pt>
                <c:pt idx="4">
                  <c:v>10</c:v>
                </c:pt>
                <c:pt idx="5">
                  <c:v>10</c:v>
                </c:pt>
                <c:pt idx="6">
                  <c:v>8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5</c:v>
                </c:pt>
                <c:pt idx="11">
                  <c:v>6</c:v>
                </c:pt>
                <c:pt idx="12">
                  <c:v>5</c:v>
                </c:pt>
                <c:pt idx="13">
                  <c:v>19</c:v>
                </c:pt>
                <c:pt idx="14">
                  <c:v>14</c:v>
                </c:pt>
                <c:pt idx="15">
                  <c:v>16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4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6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5</c:v>
                </c:pt>
                <c:pt idx="70">
                  <c:v>4</c:v>
                </c:pt>
                <c:pt idx="71">
                  <c:v>4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9</c:v>
                </c:pt>
                <c:pt idx="77">
                  <c:v>6</c:v>
                </c:pt>
                <c:pt idx="78">
                  <c:v>7</c:v>
                </c:pt>
                <c:pt idx="79">
                  <c:v>7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9</c:v>
                </c:pt>
                <c:pt idx="86">
                  <c:v>9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9</c:v>
                </c:pt>
                <c:pt idx="91">
                  <c:v>9</c:v>
                </c:pt>
                <c:pt idx="92">
                  <c:v>10</c:v>
                </c:pt>
                <c:pt idx="93">
                  <c:v>9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13</c:v>
                </c:pt>
                <c:pt idx="98">
                  <c:v>13</c:v>
                </c:pt>
                <c:pt idx="99">
                  <c:v>11</c:v>
                </c:pt>
                <c:pt idx="100">
                  <c:v>11</c:v>
                </c:pt>
                <c:pt idx="101">
                  <c:v>13</c:v>
                </c:pt>
                <c:pt idx="102">
                  <c:v>11</c:v>
                </c:pt>
                <c:pt idx="103">
                  <c:v>10</c:v>
                </c:pt>
                <c:pt idx="104">
                  <c:v>15</c:v>
                </c:pt>
                <c:pt idx="105">
                  <c:v>15</c:v>
                </c:pt>
                <c:pt idx="106">
                  <c:v>13</c:v>
                </c:pt>
                <c:pt idx="107">
                  <c:v>15</c:v>
                </c:pt>
                <c:pt idx="108">
                  <c:v>12</c:v>
                </c:pt>
                <c:pt idx="109">
                  <c:v>8</c:v>
                </c:pt>
                <c:pt idx="110">
                  <c:v>7</c:v>
                </c:pt>
                <c:pt idx="111">
                  <c:v>11</c:v>
                </c:pt>
                <c:pt idx="112">
                  <c:v>9</c:v>
                </c:pt>
                <c:pt idx="113">
                  <c:v>11</c:v>
                </c:pt>
                <c:pt idx="114">
                  <c:v>12</c:v>
                </c:pt>
                <c:pt idx="115">
                  <c:v>12</c:v>
                </c:pt>
                <c:pt idx="116">
                  <c:v>12</c:v>
                </c:pt>
                <c:pt idx="117">
                  <c:v>12</c:v>
                </c:pt>
                <c:pt idx="118">
                  <c:v>13</c:v>
                </c:pt>
                <c:pt idx="119">
                  <c:v>12</c:v>
                </c:pt>
                <c:pt idx="120">
                  <c:v>13</c:v>
                </c:pt>
                <c:pt idx="121">
                  <c:v>17</c:v>
                </c:pt>
                <c:pt idx="122">
                  <c:v>3</c:v>
                </c:pt>
                <c:pt idx="123">
                  <c:v>2</c:v>
                </c:pt>
                <c:pt idx="124">
                  <c:v>2</c:v>
                </c:pt>
                <c:pt idx="125">
                  <c:v>20</c:v>
                </c:pt>
                <c:pt idx="126">
                  <c:v>16</c:v>
                </c:pt>
                <c:pt idx="127">
                  <c:v>20</c:v>
                </c:pt>
                <c:pt idx="128">
                  <c:v>4</c:v>
                </c:pt>
                <c:pt idx="129">
                  <c:v>3</c:v>
                </c:pt>
                <c:pt idx="130">
                  <c:v>1</c:v>
                </c:pt>
                <c:pt idx="131">
                  <c:v>1</c:v>
                </c:pt>
                <c:pt idx="132">
                  <c:v>23</c:v>
                </c:pt>
                <c:pt idx="133">
                  <c:v>22</c:v>
                </c:pt>
                <c:pt idx="134">
                  <c:v>21</c:v>
                </c:pt>
                <c:pt idx="135">
                  <c:v>25</c:v>
                </c:pt>
                <c:pt idx="136">
                  <c:v>27</c:v>
                </c:pt>
                <c:pt idx="137">
                  <c:v>5</c:v>
                </c:pt>
                <c:pt idx="138">
                  <c:v>5</c:v>
                </c:pt>
                <c:pt idx="139">
                  <c:v>7</c:v>
                </c:pt>
                <c:pt idx="14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9</c:v>
                </c:pt>
                <c:pt idx="2">
                  <c:v>17</c:v>
                </c:pt>
                <c:pt idx="3">
                  <c:v>18</c:v>
                </c:pt>
                <c:pt idx="4">
                  <c:v>17</c:v>
                </c:pt>
                <c:pt idx="5">
                  <c:v>18</c:v>
                </c:pt>
                <c:pt idx="6">
                  <c:v>17</c:v>
                </c:pt>
                <c:pt idx="7">
                  <c:v>15</c:v>
                </c:pt>
                <c:pt idx="8">
                  <c:v>11</c:v>
                </c:pt>
                <c:pt idx="9">
                  <c:v>6</c:v>
                </c:pt>
                <c:pt idx="10">
                  <c:v>6</c:v>
                </c:pt>
                <c:pt idx="11">
                  <c:v>5</c:v>
                </c:pt>
                <c:pt idx="12">
                  <c:v>7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3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3</c:v>
                </c:pt>
                <c:pt idx="75">
                  <c:v>3</c:v>
                </c:pt>
                <c:pt idx="76">
                  <c:v>3</c:v>
                </c:pt>
                <c:pt idx="77">
                  <c:v>3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4</c:v>
                </c:pt>
                <c:pt idx="95">
                  <c:v>3</c:v>
                </c:pt>
                <c:pt idx="96">
                  <c:v>3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6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7</c:v>
                </c:pt>
                <c:pt idx="107">
                  <c:v>7</c:v>
                </c:pt>
                <c:pt idx="108">
                  <c:v>7</c:v>
                </c:pt>
                <c:pt idx="109">
                  <c:v>6</c:v>
                </c:pt>
                <c:pt idx="110">
                  <c:v>5</c:v>
                </c:pt>
                <c:pt idx="111">
                  <c:v>5</c:v>
                </c:pt>
                <c:pt idx="112">
                  <c:v>4</c:v>
                </c:pt>
                <c:pt idx="113">
                  <c:v>3</c:v>
                </c:pt>
                <c:pt idx="114">
                  <c:v>3</c:v>
                </c:pt>
                <c:pt idx="115">
                  <c:v>2</c:v>
                </c:pt>
                <c:pt idx="116">
                  <c:v>1</c:v>
                </c:pt>
                <c:pt idx="117">
                  <c:v>2</c:v>
                </c:pt>
                <c:pt idx="118">
                  <c:v>3</c:v>
                </c:pt>
                <c:pt idx="119">
                  <c:v>3</c:v>
                </c:pt>
                <c:pt idx="120">
                  <c:v>3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4</c:v>
                </c:pt>
                <c:pt idx="125">
                  <c:v>5</c:v>
                </c:pt>
                <c:pt idx="126">
                  <c:v>6</c:v>
                </c:pt>
                <c:pt idx="127">
                  <c:v>7</c:v>
                </c:pt>
                <c:pt idx="128">
                  <c:v>6</c:v>
                </c:pt>
                <c:pt idx="129">
                  <c:v>6</c:v>
                </c:pt>
                <c:pt idx="130">
                  <c:v>6</c:v>
                </c:pt>
                <c:pt idx="131">
                  <c:v>6</c:v>
                </c:pt>
                <c:pt idx="132">
                  <c:v>7</c:v>
                </c:pt>
                <c:pt idx="133">
                  <c:v>5</c:v>
                </c:pt>
                <c:pt idx="134">
                  <c:v>7</c:v>
                </c:pt>
                <c:pt idx="135">
                  <c:v>9</c:v>
                </c:pt>
                <c:pt idx="136">
                  <c:v>9</c:v>
                </c:pt>
                <c:pt idx="137">
                  <c:v>9</c:v>
                </c:pt>
                <c:pt idx="138">
                  <c:v>10</c:v>
                </c:pt>
                <c:pt idx="139">
                  <c:v>10</c:v>
                </c:pt>
                <c:pt idx="14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3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1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1</c:v>
                </c:pt>
                <c:pt idx="110">
                  <c:v>2</c:v>
                </c:pt>
                <c:pt idx="111">
                  <c:v>2</c:v>
                </c:pt>
                <c:pt idx="112">
                  <c:v>3</c:v>
                </c:pt>
                <c:pt idx="113">
                  <c:v>3</c:v>
                </c:pt>
                <c:pt idx="114">
                  <c:v>2</c:v>
                </c:pt>
                <c:pt idx="115">
                  <c:v>3</c:v>
                </c:pt>
                <c:pt idx="116">
                  <c:v>3</c:v>
                </c:pt>
                <c:pt idx="117">
                  <c:v>4</c:v>
                </c:pt>
                <c:pt idx="118">
                  <c:v>5</c:v>
                </c:pt>
                <c:pt idx="119">
                  <c:v>5</c:v>
                </c:pt>
                <c:pt idx="120">
                  <c:v>5</c:v>
                </c:pt>
                <c:pt idx="121">
                  <c:v>3</c:v>
                </c:pt>
                <c:pt idx="122">
                  <c:v>2</c:v>
                </c:pt>
                <c:pt idx="123">
                  <c:v>3</c:v>
                </c:pt>
                <c:pt idx="124">
                  <c:v>3</c:v>
                </c:pt>
                <c:pt idx="125">
                  <c:v>3</c:v>
                </c:pt>
                <c:pt idx="126">
                  <c:v>3</c:v>
                </c:pt>
                <c:pt idx="127">
                  <c:v>4</c:v>
                </c:pt>
                <c:pt idx="128">
                  <c:v>6</c:v>
                </c:pt>
                <c:pt idx="129">
                  <c:v>6</c:v>
                </c:pt>
                <c:pt idx="130">
                  <c:v>8</c:v>
                </c:pt>
                <c:pt idx="131">
                  <c:v>8</c:v>
                </c:pt>
                <c:pt idx="132">
                  <c:v>9</c:v>
                </c:pt>
                <c:pt idx="133">
                  <c:v>9</c:v>
                </c:pt>
                <c:pt idx="134">
                  <c:v>10</c:v>
                </c:pt>
                <c:pt idx="135">
                  <c:v>9</c:v>
                </c:pt>
                <c:pt idx="136">
                  <c:v>5</c:v>
                </c:pt>
                <c:pt idx="137">
                  <c:v>6</c:v>
                </c:pt>
                <c:pt idx="138">
                  <c:v>7</c:v>
                </c:pt>
                <c:pt idx="139">
                  <c:v>8</c:v>
                </c:pt>
                <c:pt idx="14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7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7949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2663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310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6438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8656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560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6624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62984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05009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1316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6858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91587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3161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4709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0302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7065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3074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4831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19696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90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662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9326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0931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280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734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4737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147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58957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44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37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5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5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6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9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chart" Target="../charts/chart12.xml"/><Relationship Id="rId4" Type="http://schemas.openxmlformats.org/officeDocument/2006/relationships/tags" Target="../tags/tag70.xml"/><Relationship Id="rId9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7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9" Type="http://schemas.openxmlformats.org/officeDocument/2006/relationships/chart" Target="../charts/char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8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4" Type="http://schemas.openxmlformats.org/officeDocument/2006/relationships/tags" Target="../tags/tag83.xml"/><Relationship Id="rId9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8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94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17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18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19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0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1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22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chart" Target="../charts/chart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chart" Target="../charts/chart24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chart" Target="../charts/chart2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chart" Target="../charts/chart26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chart" Target="../charts/chart27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chart" Target="../charts/chart28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chart" Target="../charts/chart29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chart" Target="../charts/chart30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chart" Target="../charts/chart7.xml"/><Relationship Id="rId4" Type="http://schemas.openxmlformats.org/officeDocument/2006/relationships/tags" Target="../tags/tag39.xml"/><Relationship Id="rId9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4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2251293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1759410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E3A41A4-9A93-4C4E-A656-E1E0617D7FA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33748871"/>
              </p:ext>
            </p:extLst>
          </p:nvPr>
        </p:nvGraphicFramePr>
        <p:xfrm>
          <a:off x="5354959" y="807245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73373939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D409923A-8736-4AF7-9EF8-6F739DE760B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877778" y="3366390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7360311-9A2D-41B6-A10C-AC90F4EBE2C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0F8D3E7E-DDD0-4EE7-9728-B6B29AE332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89F71896-015F-4266-8A2E-DE8D8F737B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84985" y="2855362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27503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488855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D2EF210-89C8-4461-A91F-9C5A845674D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26324182"/>
              </p:ext>
            </p:extLst>
          </p:nvPr>
        </p:nvGraphicFramePr>
        <p:xfrm>
          <a:off x="6538335" y="1016672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9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8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7653596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45F92D72-01BD-40CE-8BA9-7ABE67482E0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329505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09B1964B-F676-4221-9611-61E86459061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39085C8-B67C-4A8C-9578-665589B9D55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B79B047-90E4-443F-8AD9-08EA98CDEEC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27407" y="283339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100081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7571906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8A18217-8F2F-49DA-944D-80EC7C81F7C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68791987"/>
              </p:ext>
            </p:extLst>
          </p:nvPr>
        </p:nvGraphicFramePr>
        <p:xfrm>
          <a:off x="4412990" y="717016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7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60893608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91F26C-9BCA-47C4-9CC5-705D0EE8B14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568652" y="1483892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70275451-BD3B-4E48-8EB0-F18E64509D1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09029860-0E2A-4283-ABE3-2A21C9C7085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D3BD7220-5B21-45C4-890B-FA52815B927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318289" y="101880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0602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8215703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B192F32-9269-4814-BF86-D203A05E6AA3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48185873"/>
              </p:ext>
            </p:extLst>
          </p:nvPr>
        </p:nvGraphicFramePr>
        <p:xfrm>
          <a:off x="5504588" y="779461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5005993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FCFDE1EC-BACA-48D2-8FAA-68B36041BB8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027407" y="3279042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BED15170-253F-4B87-A717-5E3405353D7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27646F03-D3FC-4489-BDB2-8F2D6367405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0F1BA117-4FBA-40D6-A10D-C7977D02B6C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934615" y="283581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80051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89063833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0C813DC-C91C-4809-BAF8-AC0189E1754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6018275"/>
              </p:ext>
            </p:extLst>
          </p:nvPr>
        </p:nvGraphicFramePr>
        <p:xfrm>
          <a:off x="5519861" y="764303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82745978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02168357-AF1D-43CD-95B5-99476A32443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42680" y="3549389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12CF598E-D98A-4626-AF1B-ED05123FE4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C7ED48F4-FF47-484B-A631-95130AA30A6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687F348A-8211-4DDA-A2FD-623B63AEA6D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307656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33458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824911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0C92730C-2694-4853-8961-AA89E8BE40D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90040608"/>
              </p:ext>
            </p:extLst>
          </p:nvPr>
        </p:nvGraphicFramePr>
        <p:xfrm>
          <a:off x="6510236" y="920854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4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60698226"/>
                  </a:ext>
                </a:extLst>
              </a:tr>
            </a:tbl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AE12A01-425A-4FAA-BE1B-3C07CF21398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476294" y="3618221"/>
            <a:ext cx="1888984" cy="646331"/>
            <a:chOff x="10270650" y="3526984"/>
            <a:chExt cx="1888984" cy="646331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AD3C50AD-EB6B-4FFF-9A48-538470D3BA4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AA163BFB-2F06-4BC3-BE9F-768AAFE709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94F41678-F519-4863-AD97-7AEE105E93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447977" y="319465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89000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3932504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864758AD-9F54-42A6-AA21-AD019AF270C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19443331"/>
              </p:ext>
            </p:extLst>
          </p:nvPr>
        </p:nvGraphicFramePr>
        <p:xfrm>
          <a:off x="5504588" y="773717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5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2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01108504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F99677F-02FE-49FD-B9D3-EE9E46BFA01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335343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D6827C7A-3DEF-4F92-A528-80EEA10B085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567C12D2-717C-4FCB-88DB-0DD15121E1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A840C185-751F-4A93-AB06-E4E9C45F164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951240" y="289177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46839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039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61760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146B382E-1AB4-4280-B24B-6FDF5821A80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C1C8323D-D4C9-4EB5-9A83-D6A5135C2EE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B035F574-1B0E-4E86-ACA2-FD0FB56CD94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0C10530-9E26-4D45-93E8-ECA0ECB6F08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2706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04148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3128123E-A0DA-4F50-9F5F-1ED1A0E3E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59150"/>
              </p:ext>
            </p:extLst>
          </p:nvPr>
        </p:nvGraphicFramePr>
        <p:xfrm>
          <a:off x="1149928" y="1279701"/>
          <a:ext cx="1104207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207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5107690-8282-4469-9CF1-284BCDEBCB5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F236A14-2836-4F1D-A085-3AE608B90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E32111-AF2D-4055-A638-5113517DF29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52660FB-6D0C-43A8-A546-519E09C56D1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03484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15520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8027407" y="3154510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12" name="TextBox 9">
            <a:extLst>
              <a:ext uri="{FF2B5EF4-FFF2-40B4-BE49-F238E27FC236}">
                <a16:creationId xmlns:a16="http://schemas.microsoft.com/office/drawing/2014/main" id="{B9356918-9AB7-42C4-BB60-0647CB305C3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027407" y="276537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12F1247-CD57-4A5E-B67F-46B606F8D7E6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37760750"/>
              </p:ext>
            </p:extLst>
          </p:nvPr>
        </p:nvGraphicFramePr>
        <p:xfrm>
          <a:off x="5702161" y="900153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5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3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780025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170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041906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CACD029-57E0-4A36-9480-F83A8EE8D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489810"/>
              </p:ext>
            </p:extLst>
          </p:nvPr>
        </p:nvGraphicFramePr>
        <p:xfrm>
          <a:off x="1147157" y="1275858"/>
          <a:ext cx="11011592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1159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74B29DB-4B04-4801-87F2-849EEE1D711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8F69F9C-657E-49AB-AB84-37D049AD3EF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307E1A6-F3BE-4851-BE29-3FA94B07A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3D0F0D1-3ED5-43B8-A68C-A62315E5B62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7803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761752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8548248-3107-4482-A988-5CE5E16C4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254961"/>
              </p:ext>
            </p:extLst>
          </p:nvPr>
        </p:nvGraphicFramePr>
        <p:xfrm>
          <a:off x="1146017" y="1281861"/>
          <a:ext cx="99752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752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44DDF5A-577C-4AA7-87FC-0E64EB2ECA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92BEC90-A1C4-49A9-AA2C-1B1BA01F39A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19C9FAC-48AA-47BC-8D50-BE6E542ACE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8C57D03-D934-456C-B6AC-8F698BCFF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9190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488115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D8CB8F9-A6ED-4D08-98A2-AACC74EFB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227306"/>
              </p:ext>
            </p:extLst>
          </p:nvPr>
        </p:nvGraphicFramePr>
        <p:xfrm>
          <a:off x="1141614" y="1279701"/>
          <a:ext cx="980901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0901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A9B93CC-BC30-4AAE-8409-28EF20F384A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617183F-B343-42FD-96B4-064CF2939C3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E7738-3935-457E-A3CB-054F44F4D0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F51DEFA-B07A-47BF-9657-536279E863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83143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053949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4FF0AEB-FDBF-4CF9-88E1-85595AC68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08047"/>
              </p:ext>
            </p:extLst>
          </p:nvPr>
        </p:nvGraphicFramePr>
        <p:xfrm>
          <a:off x="1145769" y="1279701"/>
          <a:ext cx="1006671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6671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7D75A54-569A-431A-A2F4-5A98DA0D288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C5FA26A-EAE0-48BC-856A-5977D2763B2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7DA2F90-322E-46F5-A710-2DE00DA5BCB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3C56C9DD-4E20-4B3E-976C-583FCE6B988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33171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590651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0782CEE-D8F2-4302-B0C1-E17F0CB863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851776"/>
              </p:ext>
            </p:extLst>
          </p:nvPr>
        </p:nvGraphicFramePr>
        <p:xfrm>
          <a:off x="1144435" y="1277062"/>
          <a:ext cx="10791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91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7BDB643-1478-4D03-A757-E35F305B33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69C8A6-C329-4E81-AB45-C7E2CB98F2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49613C-F768-43BE-851D-C37B2EA64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026E1F50-25EE-4AB3-9549-BFFF8EC8B1B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526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43486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587C9A0-3C20-46A2-9474-7CDCACA0D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773946"/>
              </p:ext>
            </p:extLst>
          </p:nvPr>
        </p:nvGraphicFramePr>
        <p:xfrm>
          <a:off x="1144803" y="1279701"/>
          <a:ext cx="1022251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2251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8597A63-AB8E-44D5-99FF-DE5B5CFE848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0F7A42E-A26B-4299-80B0-8D060C1CD0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F063A-17E8-4730-885E-6AC822208B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649ACC3-2E84-4619-9845-667358CE0FD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79845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918167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FC0C138-0777-4595-B9CD-D771C450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239936"/>
              </p:ext>
            </p:extLst>
          </p:nvPr>
        </p:nvGraphicFramePr>
        <p:xfrm>
          <a:off x="1138842" y="1281861"/>
          <a:ext cx="103755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755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3BE3305-E25B-4776-950E-C7C8DD8C91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F493052-6DE5-4B58-B3E4-BB6E06CA762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1CF4224-B1F5-4900-9E06-0E230EBF894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0F55052-91DB-4127-9E6C-2BB3AE0FF0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73177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0050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33CDDE-E976-45DA-B05A-F171F6DF85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690141"/>
              </p:ext>
            </p:extLst>
          </p:nvPr>
        </p:nvGraphicFramePr>
        <p:xfrm>
          <a:off x="1137426" y="1281861"/>
          <a:ext cx="108896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896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A5E008-9CEC-4A73-9213-AD6E34EE0E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E861E0-4C20-4C1F-B1D4-3A0FDE0E2F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03CD9-BC16-4BE9-80AD-60AF3897A33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33D3E9D-44DD-46A0-B6E3-CFC5381C4F7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124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04446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E524D5-BF37-4E4A-8333-377052C2B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05135"/>
              </p:ext>
            </p:extLst>
          </p:nvPr>
        </p:nvGraphicFramePr>
        <p:xfrm>
          <a:off x="1138845" y="1280909"/>
          <a:ext cx="1108640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8640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AFD4772B-5003-485F-97EF-DDC56B7956F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723E61E-9945-4A95-B1DF-513165E963D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36195-B64D-4D12-AB6B-70C077967C7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A2F9728-63C9-46FD-A094-B8BD44DAC5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7063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90465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51DA54-44C0-4B73-9885-9804366128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150037"/>
              </p:ext>
            </p:extLst>
          </p:nvPr>
        </p:nvGraphicFramePr>
        <p:xfrm>
          <a:off x="1144016" y="1279701"/>
          <a:ext cx="11047984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7984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56DBF0-6187-4702-BBAA-D6CD01466B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4BC79C3-302F-41F4-AF1F-E6D4903DA0D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528F536-06A4-4E34-9CA3-1DEA3B7B24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182710D-19F8-4DD1-A2E7-447005CE7E8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39143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55832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1E4A45C4-3742-4057-891F-2D9C55D9F76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56509549"/>
              </p:ext>
            </p:extLst>
          </p:nvPr>
        </p:nvGraphicFramePr>
        <p:xfrm>
          <a:off x="5504588" y="771850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D574F69C-788F-4A28-B517-C6FC4A3AB31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027407" y="3295056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0371B00-A2C9-4A16-8967-76AA4902E98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98AC084-EB79-499A-ABD3-6D44770B3AE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26CFACD-A1B8-4CC8-B1A2-354892EEE51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042680" y="285590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591566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841341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E7E469F-7CF9-4EFD-830C-5ABC13E32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938243"/>
              </p:ext>
            </p:extLst>
          </p:nvPr>
        </p:nvGraphicFramePr>
        <p:xfrm>
          <a:off x="1147156" y="1277206"/>
          <a:ext cx="110531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31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DF49B9B2-2C73-4E19-9539-F064006E19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ADF5C6D-F38F-44B9-8CDA-A9535183669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97F85B3-E5FE-4B17-BBE7-AB13AD43D48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F0D68BF-48AE-4977-8FCD-EE40A1A483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21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75914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3085F3A-42D0-4CF0-A974-C7D711A14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638817"/>
              </p:ext>
            </p:extLst>
          </p:nvPr>
        </p:nvGraphicFramePr>
        <p:xfrm>
          <a:off x="1152698" y="1281861"/>
          <a:ext cx="1061942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1942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C70C529-A27A-4C00-A686-37281144E50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12177B9-59A8-4BD1-A921-3D912B0610B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0C47A72-D0EE-486E-96C4-EBDE1081915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69B936-76CB-4068-B883-6BCE60B2F16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72827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261825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989232C4-A6C3-4BC3-814B-5AC8A24F4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793845"/>
              </p:ext>
            </p:extLst>
          </p:nvPr>
        </p:nvGraphicFramePr>
        <p:xfrm>
          <a:off x="1147157" y="1277062"/>
          <a:ext cx="1044768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4768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1ECE784-C851-4302-8DC2-BA62A55EC6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1DC46BA-64D3-4F34-A7E2-FA3D5B75D67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D9D7414-3E77-49D9-B34C-6B4AB994B97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DE7B24B-466D-44CC-8D8F-3A90CA8052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90342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758772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EC1F91-D8B1-4134-9E5A-B763C8A6384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30123722"/>
              </p:ext>
            </p:extLst>
          </p:nvPr>
        </p:nvGraphicFramePr>
        <p:xfrm>
          <a:off x="5414866" y="736598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8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945499740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37D9203C-00CE-488F-AFE2-151B10A81EE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854327" y="3205311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A05E063D-556D-4195-8B7B-E7E99829EF8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315A2CC5-29C9-477B-AE89-D6932BBBCC0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6E56C21-ED03-4B0B-AF72-5EE112E06D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854327" y="274364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5442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6012401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FBB8A3-10B1-49BB-B492-34337F83D15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1884471"/>
              </p:ext>
            </p:extLst>
          </p:nvPr>
        </p:nvGraphicFramePr>
        <p:xfrm>
          <a:off x="5519861" y="671983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2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66230204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750FB06A-FF29-4269-839F-28132877791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42680" y="3693295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59BE7617-5B48-4A95-94A2-444216D621A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C5D9C138-6D7C-4164-9739-E0954BB4CE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F54C3B-F2F1-4F90-AEFD-6709856A4B8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934615" y="321036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42300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36603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0A49959-AD94-4D61-A0EB-EE144E7E27B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27815306"/>
              </p:ext>
            </p:extLst>
          </p:nvPr>
        </p:nvGraphicFramePr>
        <p:xfrm>
          <a:off x="5596028" y="746348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9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7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45324043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327EC427-7F22-4963-954A-DAEEB8E0B74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118847" y="338301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8666953-B1BC-4B94-BCB6-9843111172F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075A2CCF-60B1-46EB-8014-0C52564F15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40FB202-84FB-4E24-86EF-2CD30B712F5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992803" y="293978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643065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85565380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6586E05-07D4-48D3-AE04-DC7879EBDBC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81921263"/>
              </p:ext>
            </p:extLst>
          </p:nvPr>
        </p:nvGraphicFramePr>
        <p:xfrm>
          <a:off x="3795506" y="954137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95356783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A72D15D1-2B0A-47E5-9468-3A7393EA6392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58496" y="1787704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E23E8172-E892-43CC-A077-1EBC1D8A88F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C48ACD00-AF43-429E-9148-CE62F7ED922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D4A2F02-B24D-4E25-8598-021DA2CA1B9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58496" y="126817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14503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6209925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6158F830-2683-4DA5-8FA7-14E48805DBA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72403588"/>
              </p:ext>
            </p:extLst>
          </p:nvPr>
        </p:nvGraphicFramePr>
        <p:xfrm>
          <a:off x="5474538" y="728340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71313308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986768D-9548-4703-B0E8-BF479D2205A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659174" y="3359472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D749DF37-9807-454A-A089-FCDF1C853EE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10B7A04E-FBD0-4AA4-A209-CA9395B5E1B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EA091E96-B33E-4182-9B59-310513F2D63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383502" y="293590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94939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460270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18C5637-8ECD-4FAC-968E-1173D99F713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84121418"/>
              </p:ext>
            </p:extLst>
          </p:nvPr>
        </p:nvGraphicFramePr>
        <p:xfrm>
          <a:off x="5549290" y="732825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906233189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138B607-AF8B-4F3E-8E0D-2A3EA931490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600985" y="3618221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BE5A5079-E8B4-4394-9251-D19B9A45C7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C6F23CAE-6E45-45BB-BF94-1DB6BC10CBE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03FBF508-E5D0-4B24-93D2-B8886A0631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30418" y="321069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76069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6</TotalTime>
  <Words>1677</Words>
  <Application>Microsoft Office PowerPoint</Application>
  <PresentationFormat>Širokoúhlá obrazovka</PresentationFormat>
  <Paragraphs>769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65</cp:revision>
  <dcterms:created xsi:type="dcterms:W3CDTF">2021-03-07T17:05:03Z</dcterms:created>
  <dcterms:modified xsi:type="dcterms:W3CDTF">2021-10-20T20:39:09Z</dcterms:modified>
</cp:coreProperties>
</file>